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drawings/drawing3.xml" ContentType="application/vnd.openxmlformats-officedocument.drawingml.chartshapes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notesSlides/notesSlide5.xml" ContentType="application/vnd.openxmlformats-officedocument.presentationml.notesSlide+xml"/>
  <Override PartName="/ppt/charts/chart12.xml" ContentType="application/vnd.openxmlformats-officedocument.drawingml.chart+xml"/>
  <Override PartName="/ppt/drawings/drawing4.xml" ContentType="application/vnd.openxmlformats-officedocument.drawingml.chartshapes+xml"/>
  <Override PartName="/ppt/charts/chart1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14.xml" ContentType="application/vnd.openxmlformats-officedocument.drawingml.chart+xml"/>
  <Override PartName="/ppt/drawings/drawing5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15.xml" ContentType="application/vnd.openxmlformats-officedocument.drawingml.chart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6.xml" ContentType="application/vnd.openxmlformats-officedocument.drawingml.chart+xml"/>
  <Override PartName="/ppt/notesSlides/notesSlide8.xml" ContentType="application/vnd.openxmlformats-officedocument.presentationml.notesSlide+xml"/>
  <Override PartName="/ppt/charts/chart17.xml" ContentType="application/vnd.openxmlformats-officedocument.drawingml.chart+xml"/>
  <Override PartName="/ppt/notesSlides/notesSlide9.xml" ContentType="application/vnd.openxmlformats-officedocument.presentationml.notesSlide+xml"/>
  <Override PartName="/ppt/charts/chart1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0.xml" ContentType="application/vnd.openxmlformats-officedocument.presentationml.notesSlide+xml"/>
  <Override PartName="/ppt/charts/chart1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6.xml" ContentType="application/vnd.openxmlformats-officedocument.drawingml.chartshapes+xml"/>
  <Override PartName="/ppt/charts/chart20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21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24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25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26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2.xml" ContentType="application/vnd.openxmlformats-officedocument.presentationml.notesSlide+xml"/>
  <Override PartName="/ppt/charts/chart2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28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rawings/drawing7.xml" ContentType="application/vnd.openxmlformats-officedocument.drawingml.chartshapes+xml"/>
  <Override PartName="/ppt/notesSlides/notesSlide13.xml" ContentType="application/vnd.openxmlformats-officedocument.presentationml.notesSlide+xml"/>
  <Override PartName="/ppt/charts/chart29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30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31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32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14.xml" ContentType="application/vnd.openxmlformats-officedocument.presentationml.notesSlide+xml"/>
  <Override PartName="/ppt/charts/chart3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3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15.xml" ContentType="application/vnd.openxmlformats-officedocument.presentationml.notesSlide+xml"/>
  <Override PartName="/ppt/charts/chart35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36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drawings/drawing8.xml" ContentType="application/vnd.openxmlformats-officedocument.drawingml.chartshapes+xml"/>
  <Override PartName="/ppt/tags/tag7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notesSlides/notesSlide17.xml" ContentType="application/vnd.openxmlformats-officedocument.presentationml.notesSlide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41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notesSlides/notesSlide18.xml" ContentType="application/vnd.openxmlformats-officedocument.presentationml.notesSlide+xml"/>
  <Override PartName="/ppt/charts/chart42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drawings/drawing9.xml" ContentType="application/vnd.openxmlformats-officedocument.drawingml.chartshapes+xml"/>
  <Override PartName="/ppt/charts/chart43.xml" ContentType="application/vnd.openxmlformats-officedocument.drawingml.chart+xml"/>
  <Override PartName="/ppt/drawings/drawing10.xml" ContentType="application/vnd.openxmlformats-officedocument.drawingml.chartshapes+xml"/>
  <Override PartName="/ppt/charts/chart4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4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4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4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48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0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49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50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20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5"/>
  </p:notesMasterIdLst>
  <p:handoutMasterIdLst>
    <p:handoutMasterId r:id="rId46"/>
  </p:handoutMasterIdLst>
  <p:sldIdLst>
    <p:sldId id="859" r:id="rId2"/>
    <p:sldId id="5314" r:id="rId3"/>
    <p:sldId id="656" r:id="rId4"/>
    <p:sldId id="847" r:id="rId5"/>
    <p:sldId id="6014" r:id="rId6"/>
    <p:sldId id="6012" r:id="rId7"/>
    <p:sldId id="848" r:id="rId8"/>
    <p:sldId id="554" r:id="rId9"/>
    <p:sldId id="776" r:id="rId10"/>
    <p:sldId id="303" r:id="rId11"/>
    <p:sldId id="5318" r:id="rId12"/>
    <p:sldId id="6013" r:id="rId13"/>
    <p:sldId id="6015" r:id="rId14"/>
    <p:sldId id="321" r:id="rId15"/>
    <p:sldId id="5317" r:id="rId16"/>
    <p:sldId id="6010" r:id="rId17"/>
    <p:sldId id="6016" r:id="rId18"/>
    <p:sldId id="1059" r:id="rId19"/>
    <p:sldId id="1060" r:id="rId20"/>
    <p:sldId id="6008" r:id="rId21"/>
    <p:sldId id="1061" r:id="rId22"/>
    <p:sldId id="6006" r:id="rId23"/>
    <p:sldId id="1065" r:id="rId24"/>
    <p:sldId id="6009" r:id="rId25"/>
    <p:sldId id="1064" r:id="rId26"/>
    <p:sldId id="1062" r:id="rId27"/>
    <p:sldId id="6044" r:id="rId28"/>
    <p:sldId id="472" r:id="rId29"/>
    <p:sldId id="4010" r:id="rId30"/>
    <p:sldId id="3975" r:id="rId31"/>
    <p:sldId id="5322" r:id="rId32"/>
    <p:sldId id="6019" r:id="rId33"/>
    <p:sldId id="6042" r:id="rId34"/>
    <p:sldId id="6043" r:id="rId35"/>
    <p:sldId id="5299" r:id="rId36"/>
    <p:sldId id="5298" r:id="rId37"/>
    <p:sldId id="5341" r:id="rId38"/>
    <p:sldId id="5342" r:id="rId39"/>
    <p:sldId id="5316" r:id="rId40"/>
    <p:sldId id="5300" r:id="rId41"/>
    <p:sldId id="5302" r:id="rId42"/>
    <p:sldId id="5337" r:id="rId43"/>
    <p:sldId id="543" r:id="rId44"/>
  </p:sldIdLst>
  <p:sldSz cx="9144000" cy="6858000" type="screen4x3"/>
  <p:notesSz cx="7102475" cy="9388475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12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840" userDrawn="1">
          <p15:clr>
            <a:srgbClr val="A4A3A4"/>
          </p15:clr>
        </p15:guide>
        <p15:guide id="4" orient="horz" pos="1128" userDrawn="1">
          <p15:clr>
            <a:srgbClr val="A4A3A4"/>
          </p15:clr>
        </p15:guide>
        <p15:guide id="5" orient="horz" pos="2880" userDrawn="1">
          <p15:clr>
            <a:srgbClr val="A4A3A4"/>
          </p15:clr>
        </p15:guide>
        <p15:guide id="6" orient="horz" pos="3600">
          <p15:clr>
            <a:srgbClr val="A4A3A4"/>
          </p15:clr>
        </p15:guide>
        <p15:guide id="7" orient="horz" pos="1142">
          <p15:clr>
            <a:srgbClr val="A4A3A4"/>
          </p15:clr>
        </p15:guide>
        <p15:guide id="8" pos="5208" userDrawn="1">
          <p15:clr>
            <a:srgbClr val="A4A3A4"/>
          </p15:clr>
        </p15:guide>
        <p15:guide id="9" pos="605">
          <p15:clr>
            <a:srgbClr val="A4A3A4"/>
          </p15:clr>
        </p15:guide>
        <p15:guide id="10" orient="horz" pos="3120" userDrawn="1">
          <p15:clr>
            <a:srgbClr val="A4A3A4"/>
          </p15:clr>
        </p15:guide>
        <p15:guide id="11" orient="horz" pos="1008" userDrawn="1">
          <p15:clr>
            <a:srgbClr val="A4A3A4"/>
          </p15:clr>
        </p15:guide>
        <p15:guide id="12" orient="horz">
          <p15:clr>
            <a:srgbClr val="A4A3A4"/>
          </p15:clr>
        </p15:guide>
        <p15:guide id="14" orient="horz" pos="3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7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llot, James" initials="BJ" lastIdx="3" clrIdx="0">
    <p:extLst>
      <p:ext uri="{19B8F6BF-5375-455C-9EA6-DF929625EA0E}">
        <p15:presenceInfo xmlns:p15="http://schemas.microsoft.com/office/powerpoint/2012/main" userId="S::jamesb@iii.org::8580160f-2b6f-42b5-8d09-b03f6cc3176d" providerId="AD"/>
      </p:ext>
    </p:extLst>
  </p:cmAuthor>
  <p:cmAuthor id="2" name="Lynch, James" initials="LJ" lastIdx="2" clrIdx="1">
    <p:extLst>
      <p:ext uri="{19B8F6BF-5375-455C-9EA6-DF929625EA0E}">
        <p15:presenceInfo xmlns:p15="http://schemas.microsoft.com/office/powerpoint/2012/main" userId="S::jamesl@iii.org::347bbc7c-092c-42aa-a9f8-cedac8c5b5e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3"/>
    <a:srgbClr val="EBEBEB"/>
    <a:srgbClr val="337DBE"/>
    <a:srgbClr val="F69322"/>
    <a:srgbClr val="FF6600"/>
    <a:srgbClr val="234568"/>
    <a:srgbClr val="2F8571"/>
    <a:srgbClr val="A6D8E7"/>
    <a:srgbClr val="D9AE3A"/>
    <a:srgbClr val="BD90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796" autoAdjust="0"/>
  </p:normalViewPr>
  <p:slideViewPr>
    <p:cSldViewPr snapToGrid="0">
      <p:cViewPr varScale="1">
        <p:scale>
          <a:sx n="80" d="100"/>
          <a:sy n="80" d="100"/>
        </p:scale>
        <p:origin x="904" y="44"/>
      </p:cViewPr>
      <p:guideLst>
        <p:guide orient="horz" pos="3312"/>
        <p:guide pos="2880"/>
        <p:guide pos="840"/>
        <p:guide orient="horz" pos="1128"/>
        <p:guide orient="horz" pos="2880"/>
        <p:guide orient="horz" pos="3600"/>
        <p:guide orient="horz" pos="1142"/>
        <p:guide pos="5208"/>
        <p:guide pos="605"/>
        <p:guide orient="horz" pos="3120"/>
        <p:guide orient="horz" pos="1008"/>
        <p:guide orient="horz"/>
        <p:guide orient="horz" pos="320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99" d="100"/>
          <a:sy n="99" d="100"/>
        </p:scale>
        <p:origin x="-3492" y="-96"/>
      </p:cViewPr>
      <p:guideLst>
        <p:guide orient="horz" pos="2957"/>
        <p:guide pos="2237"/>
      </p:guideLst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10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12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6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chartUserShapes" Target="../drawings/drawing7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chartUserShapes" Target="../drawings/drawing8.xml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chartUserShapes" Target="../drawings/drawing9.xml"/></Relationships>
</file>

<file path=ppt/charts/_rels/chart4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41.xlsx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4.xlsx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8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orfmanMax\Dropbox%20(III)\Research%20and%20Education\2019%20Research\Combined%20Ratio%20Model\Q1%202020%20estimate\Webinar%20materials\Copy%20of%20Combined%20Ratio%20and%20Prem%20Growth%20Summaries%20from%20v5b%20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27003775397875E-2"/>
          <c:y val="7.0937150775175914E-2"/>
          <c:w val="0.92607339744584638"/>
          <c:h val="0.8382749326145549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3-38CA-43DB-B667-FEF873C017BC}"/>
              </c:ext>
            </c:extLst>
          </c:dPt>
          <c:dPt>
            <c:idx val="1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2-38CA-43DB-B667-FEF873C017BC}"/>
              </c:ext>
            </c:extLst>
          </c:dPt>
          <c:dPt>
            <c:idx val="2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15-67FB-430E-A139-D18F8A7DCA95}"/>
              </c:ext>
            </c:extLst>
          </c:dPt>
          <c:dPt>
            <c:idx val="3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1-38CA-43DB-B667-FEF873C017BC}"/>
              </c:ext>
            </c:extLst>
          </c:dPt>
          <c:dPt>
            <c:idx val="5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0-38CA-43DB-B667-FEF873C017BC}"/>
              </c:ext>
            </c:extLst>
          </c:dPt>
          <c:dPt>
            <c:idx val="8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19-EEC2-44ED-A755-F552B9A8D3F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K$1:$V$1</c:f>
              <c:strCach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:Q2</c:v>
                </c:pt>
                <c:pt idx="11">
                  <c:v>2020E</c:v>
                </c:pt>
              </c:strCache>
            </c:strRef>
          </c:cat>
          <c:val>
            <c:numRef>
              <c:f>Sheet1!$K$2:$V$2</c:f>
              <c:numCache>
                <c:formatCode>0.0</c:formatCode>
                <c:ptCount val="12"/>
                <c:pt idx="0">
                  <c:v>101.1</c:v>
                </c:pt>
                <c:pt idx="1">
                  <c:v>106.5</c:v>
                </c:pt>
                <c:pt idx="2">
                  <c:v>102.5</c:v>
                </c:pt>
                <c:pt idx="3">
                  <c:v>96.4</c:v>
                </c:pt>
                <c:pt idx="4">
                  <c:v>97</c:v>
                </c:pt>
                <c:pt idx="5">
                  <c:v>97.8</c:v>
                </c:pt>
                <c:pt idx="6">
                  <c:v>100.7</c:v>
                </c:pt>
                <c:pt idx="7">
                  <c:v>103.7</c:v>
                </c:pt>
                <c:pt idx="8">
                  <c:v>99.2</c:v>
                </c:pt>
                <c:pt idx="9">
                  <c:v>98.9</c:v>
                </c:pt>
                <c:pt idx="10">
                  <c:v>97.5</c:v>
                </c:pt>
                <c:pt idx="11">
                  <c:v>10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D-38CA-43DB-B667-FEF873C01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8501496"/>
        <c:axId val="528512472"/>
        <c:extLst/>
      </c:barChart>
      <c:catAx>
        <c:axId val="528501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28512472"/>
        <c:crossesAt val="100"/>
        <c:auto val="1"/>
        <c:lblAlgn val="ctr"/>
        <c:lblOffset val="20"/>
        <c:tickLblSkip val="1"/>
        <c:tickMarkSkip val="1"/>
        <c:noMultiLvlLbl val="0"/>
      </c:catAx>
      <c:valAx>
        <c:axId val="528512472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low"/>
        <c:txPr>
          <a:bodyPr/>
          <a:lstStyle/>
          <a:p>
            <a:pPr>
              <a:defRPr sz="1200"/>
            </a:pPr>
            <a:endParaRPr lang="en-US"/>
          </a:p>
        </c:txPr>
        <c:crossAx val="528501496"/>
        <c:crosses val="autoZero"/>
        <c:crossBetween val="between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63081322641786"/>
          <c:y val="3.6188284960625698E-2"/>
          <c:w val="0.8708762667582739"/>
          <c:h val="0.82581365422268993"/>
        </c:manualLayout>
      </c:layout>
      <c:barChart>
        <c:barDir val="col"/>
        <c:grouping val="clustered"/>
        <c:varyColors val="0"/>
        <c:ser>
          <c:idx val="0"/>
          <c:order val="1"/>
          <c:tx>
            <c:strRef>
              <c:f>Sheet1!$B$1</c:f>
              <c:strCache>
                <c:ptCount val="1"/>
                <c:pt idx="0">
                  <c:v>Homeowners</c:v>
                </c:pt>
              </c:strCache>
            </c:strRef>
          </c:tx>
          <c:invertIfNegative val="0"/>
          <c:dLbls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FF5-4A76-BF0F-3B826C5EBC83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FF5-4A76-BF0F-3B826C5EBC83}"/>
                </c:ext>
              </c:extLst>
            </c:dLbl>
            <c:dLbl>
              <c:idx val="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FF5-4A76-BF0F-3B826C5EBC83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FF5-4A76-BF0F-3B826C5EBC83}"/>
                </c:ext>
              </c:extLst>
            </c:dLbl>
            <c:dLbl>
              <c:idx val="10"/>
              <c:layout>
                <c:manualLayout>
                  <c:x val="-4.5924225028702642E-3"/>
                  <c:y val="0.134711284918679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60D-4384-BF03-ACD8EBF645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Sheet1!$B$2:$B$12</c:f>
              <c:numCache>
                <c:formatCode>0%</c:formatCode>
                <c:ptCount val="11"/>
                <c:pt idx="0">
                  <c:v>1.0594253999999999</c:v>
                </c:pt>
                <c:pt idx="1">
                  <c:v>1.070679385</c:v>
                </c:pt>
                <c:pt idx="2">
                  <c:v>1.221005586</c:v>
                </c:pt>
                <c:pt idx="3">
                  <c:v>1.039199338</c:v>
                </c:pt>
                <c:pt idx="4">
                  <c:v>0.90519474300000002</c:v>
                </c:pt>
                <c:pt idx="5">
                  <c:v>0.92661701800000007</c:v>
                </c:pt>
                <c:pt idx="6">
                  <c:v>0.91778443199999993</c:v>
                </c:pt>
                <c:pt idx="7">
                  <c:v>0.93079821399999996</c:v>
                </c:pt>
                <c:pt idx="8">
                  <c:v>1.0708810280000001</c:v>
                </c:pt>
                <c:pt idx="9">
                  <c:v>1.036234001</c:v>
                </c:pt>
                <c:pt idx="10">
                  <c:v>0.984151312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C2-481F-8284-FEFBC67A212F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Auto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8E0-4970-A606-0F0FD8548563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8E0-4970-A606-0F0FD8548563}"/>
                </c:ext>
              </c:extLst>
            </c:dLbl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8E0-4970-A606-0F0FD85485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Sheet1!$C$2:$C$12</c:f>
              <c:numCache>
                <c:formatCode>0%</c:formatCode>
                <c:ptCount val="11"/>
                <c:pt idx="0">
                  <c:v>1.0115517010000001</c:v>
                </c:pt>
                <c:pt idx="1">
                  <c:v>1.0095960879999999</c:v>
                </c:pt>
                <c:pt idx="2">
                  <c:v>1.0226834089999999</c:v>
                </c:pt>
                <c:pt idx="3">
                  <c:v>1.0223507619999999</c:v>
                </c:pt>
                <c:pt idx="4">
                  <c:v>1.016595114</c:v>
                </c:pt>
                <c:pt idx="5">
                  <c:v>1.024618442</c:v>
                </c:pt>
                <c:pt idx="6">
                  <c:v>1.043755819</c:v>
                </c:pt>
                <c:pt idx="7">
                  <c:v>1.0620728159999999</c:v>
                </c:pt>
                <c:pt idx="8">
                  <c:v>1.026605897</c:v>
                </c:pt>
                <c:pt idx="9">
                  <c:v>0.97686501800000003</c:v>
                </c:pt>
                <c:pt idx="10">
                  <c:v>0.985632995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E0-4970-A606-0F0FD85485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251558928"/>
        <c:axId val="333891984"/>
        <c:extLst>
          <c:ext xmlns:c15="http://schemas.microsoft.com/office/drawing/2012/chart" uri="{02D57815-91ED-43cb-92C2-25804820EDAC}">
            <c15:filteredBarSeries>
              <c15:ser>
                <c:idx val="1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 </c:v>
                      </c:pt>
                    </c:strCache>
                  </c:strRef>
                </c:tx>
                <c:spPr>
                  <a:ln w="19050">
                    <a:solidFill>
                      <a:schemeClr val="accent2"/>
                    </a:solidFill>
                    <a:miter lim="800000"/>
                  </a:ln>
                </c:spPr>
                <c:invertIfNegative val="0"/>
                <c:dLbls>
                  <c:dLbl>
                    <c:idx val="1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0-FFF5-4A76-BF0F-3B826C5EBC83}"/>
                      </c:ext>
                    </c:extLst>
                  </c:dLbl>
                  <c:dLbl>
                    <c:idx val="2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1-FFF5-4A76-BF0F-3B826C5EBC83}"/>
                      </c:ext>
                    </c:extLst>
                  </c:dLbl>
                  <c:dLbl>
                    <c:idx val="3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7-CF67-4313-B714-2B478BC1C0CA}"/>
                      </c:ext>
                    </c:extLst>
                  </c:dLbl>
                  <c:dLbl>
                    <c:idx val="4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2-FFF5-4A76-BF0F-3B826C5EBC83}"/>
                      </c:ext>
                    </c:extLst>
                  </c:dLbl>
                  <c:dLbl>
                    <c:idx val="5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3-FFF5-4A76-BF0F-3B826C5EBC83}"/>
                      </c:ext>
                    </c:extLst>
                  </c:dLbl>
                  <c:dLbl>
                    <c:idx val="6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8-CF67-4313-B714-2B478BC1C0CA}"/>
                      </c:ext>
                    </c:extLst>
                  </c:dLbl>
                  <c:dLbl>
                    <c:idx val="7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9-CF67-4313-B714-2B478BC1C0CA}"/>
                      </c:ext>
                    </c:extLst>
                  </c:dLbl>
                  <c:dLbl>
                    <c:idx val="8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A-CF67-4313-B714-2B478BC1C0CA}"/>
                      </c:ext>
                    </c:extLst>
                  </c:dLbl>
                  <c:dLbl>
                    <c:idx val="9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B-CF67-4313-B714-2B478BC1C0CA}"/>
                      </c:ext>
                    </c:extLst>
                  </c:dLbl>
                  <c:dLbl>
                    <c:idx val="10"/>
                    <c:layout>
                      <c:manualLayout>
                        <c:x val="-8.2793783957257928E-3"/>
                        <c:y val="1.4032238299079588E-17"/>
                      </c:manualLayout>
                    </c:layout>
                    <c:dLblPos val="outEnd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C-CF67-4313-B714-2B478BC1C0CA}"/>
                      </c:ext>
                    </c:extLst>
                  </c:dLbl>
                  <c:numFmt formatCode="0%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vert="horz"/>
                    <a:lstStyle/>
                    <a:p>
                      <a:pPr>
                        <a:defRPr sz="1200" b="1"/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0"/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2009</c:v>
                      </c:pt>
                      <c:pt idx="1">
                        <c:v>2010</c:v>
                      </c:pt>
                      <c:pt idx="2">
                        <c:v>2011</c:v>
                      </c:pt>
                      <c:pt idx="3">
                        <c:v>2012</c:v>
                      </c:pt>
                      <c:pt idx="4">
                        <c:v>2013</c:v>
                      </c:pt>
                      <c:pt idx="5">
                        <c:v>2014</c:v>
                      </c:pt>
                      <c:pt idx="6">
                        <c:v>2015</c:v>
                      </c:pt>
                      <c:pt idx="7">
                        <c:v>2016</c:v>
                      </c:pt>
                      <c:pt idx="8">
                        <c:v>2017</c:v>
                      </c:pt>
                      <c:pt idx="9">
                        <c:v>2018</c:v>
                      </c:pt>
                      <c:pt idx="10">
                        <c:v>201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2009</c:v>
                      </c:pt>
                      <c:pt idx="1">
                        <c:v>2010</c:v>
                      </c:pt>
                      <c:pt idx="2">
                        <c:v>2011</c:v>
                      </c:pt>
                      <c:pt idx="3">
                        <c:v>2012</c:v>
                      </c:pt>
                      <c:pt idx="4">
                        <c:v>2013</c:v>
                      </c:pt>
                      <c:pt idx="5">
                        <c:v>2014</c:v>
                      </c:pt>
                      <c:pt idx="6">
                        <c:v>2015</c:v>
                      </c:pt>
                      <c:pt idx="7">
                        <c:v>2016</c:v>
                      </c:pt>
                      <c:pt idx="8">
                        <c:v>2017</c:v>
                      </c:pt>
                      <c:pt idx="9">
                        <c:v>2018</c:v>
                      </c:pt>
                      <c:pt idx="10">
                        <c:v>201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D-CF67-4313-B714-2B478BC1C0CA}"/>
                  </c:ext>
                </c:extLst>
              </c15:ser>
            </c15:filteredBarSeries>
          </c:ext>
        </c:extLst>
      </c:barChart>
      <c:catAx>
        <c:axId val="251558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60000000" vert="horz"/>
          <a:lstStyle/>
          <a:p>
            <a:pPr>
              <a:defRPr sz="1200"/>
            </a:pPr>
            <a:endParaRPr lang="en-US"/>
          </a:p>
        </c:txPr>
        <c:crossAx val="333891984"/>
        <c:crossesAt val="1"/>
        <c:auto val="1"/>
        <c:lblAlgn val="ctr"/>
        <c:lblOffset val="210"/>
        <c:noMultiLvlLbl val="0"/>
      </c:catAx>
      <c:valAx>
        <c:axId val="333891984"/>
        <c:scaling>
          <c:orientation val="minMax"/>
          <c:min val="0.9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Combined Ratio</a:t>
                </a:r>
              </a:p>
            </c:rich>
          </c:tx>
          <c:overlay val="0"/>
        </c:title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 sz="1200"/>
            </a:pPr>
            <a:endParaRPr lang="en-US"/>
          </a:p>
        </c:txPr>
        <c:crossAx val="25155892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33746735733808247"/>
          <c:y val="0.11940297068226755"/>
          <c:w val="0.25610542080632576"/>
          <c:h val="6.5774571627077019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248345578656663"/>
          <c:y val="7.1527669266209265E-2"/>
          <c:w val="0.72751654421343337"/>
          <c:h val="0.75804998003387136"/>
        </c:manualLayout>
      </c:layout>
      <c:barChart>
        <c:barDir val="col"/>
        <c:grouping val="clustered"/>
        <c:varyColors val="0"/>
        <c:ser>
          <c:idx val="0"/>
          <c:order val="1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6-3CE1-4BA3-8BA5-724D03BB948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Homeowners</c:v>
                </c:pt>
                <c:pt idx="1">
                  <c:v> Auto Liability 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1</c:v>
                </c:pt>
                <c:pt idx="1">
                  <c:v>0.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CE1-4BA3-8BA5-724D03BB9481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15-3CE1-4BA3-8BA5-724D03BB948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Homeowners</c:v>
                </c:pt>
                <c:pt idx="1">
                  <c:v> Auto Liability 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61</c:v>
                </c:pt>
                <c:pt idx="1">
                  <c:v>0.56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CE1-4BA3-8BA5-724D03BB94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-3"/>
        <c:axId val="251558928"/>
        <c:axId val="333891984"/>
        <c:extLst>
          <c:ext xmlns:c15="http://schemas.microsoft.com/office/drawing/2012/chart" uri="{02D57815-91ED-43cb-92C2-25804820EDAC}">
            <c15:filteredBarSeries>
              <c15:ser>
                <c:idx val="1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 </c:v>
                      </c:pt>
                    </c:strCache>
                  </c:strRef>
                </c:tx>
                <c:spPr>
                  <a:ln w="19050">
                    <a:solidFill>
                      <a:schemeClr val="accent2"/>
                    </a:solidFill>
                    <a:miter lim="800000"/>
                  </a:ln>
                </c:spPr>
                <c:invertIfNegative val="0"/>
                <c:dLbls>
                  <c:dLbl>
                    <c:idx val="1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A-3CE1-4BA3-8BA5-724D03BB9481}"/>
                      </c:ext>
                    </c:extLst>
                  </c:dLbl>
                  <c:dLbl>
                    <c:idx val="2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B-3CE1-4BA3-8BA5-724D03BB9481}"/>
                      </c:ext>
                    </c:extLst>
                  </c:dLbl>
                  <c:dLbl>
                    <c:idx val="3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C-3CE1-4BA3-8BA5-724D03BB9481}"/>
                      </c:ext>
                    </c:extLst>
                  </c:dLbl>
                  <c:dLbl>
                    <c:idx val="4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D-3CE1-4BA3-8BA5-724D03BB9481}"/>
                      </c:ext>
                    </c:extLst>
                  </c:dLbl>
                  <c:dLbl>
                    <c:idx val="5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E-3CE1-4BA3-8BA5-724D03BB9481}"/>
                      </c:ext>
                    </c:extLst>
                  </c:dLbl>
                  <c:dLbl>
                    <c:idx val="6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F-3CE1-4BA3-8BA5-724D03BB9481}"/>
                      </c:ext>
                    </c:extLst>
                  </c:dLbl>
                  <c:dLbl>
                    <c:idx val="7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10-3CE1-4BA3-8BA5-724D03BB9481}"/>
                      </c:ext>
                    </c:extLst>
                  </c:dLbl>
                  <c:dLbl>
                    <c:idx val="8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11-3CE1-4BA3-8BA5-724D03BB9481}"/>
                      </c:ext>
                    </c:extLst>
                  </c:dLbl>
                  <c:dLbl>
                    <c:idx val="9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12-3CE1-4BA3-8BA5-724D03BB9481}"/>
                      </c:ext>
                    </c:extLst>
                  </c:dLbl>
                  <c:dLbl>
                    <c:idx val="10"/>
                    <c:layout>
                      <c:manualLayout>
                        <c:x val="-8.2793783957257928E-3"/>
                        <c:y val="1.4032238299079588E-17"/>
                      </c:manualLayout>
                    </c:layout>
                    <c:dLblPos val="outEnd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13-3CE1-4BA3-8BA5-724D03BB9481}"/>
                      </c:ext>
                    </c:extLst>
                  </c:dLbl>
                  <c:numFmt formatCode="0%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vert="horz"/>
                    <a:lstStyle/>
                    <a:p>
                      <a:pPr>
                        <a:defRPr sz="1200" b="1"/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0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Homeowners</c:v>
                      </c:pt>
                      <c:pt idx="1">
                        <c:v> Auto Liability 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numCache>
                      <c:formatCode>_(* #,##0.00_);_(* \(#,##0.00\);_(* "-"??_);_(@_)</c:formatCode>
                      <c:ptCount val="2"/>
                      <c:pt idx="0" formatCode="General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14-3CE1-4BA3-8BA5-724D03BB9481}"/>
                  </c:ext>
                </c:extLst>
              </c15:ser>
            </c15:filteredBarSeries>
          </c:ext>
        </c:extLst>
      </c:barChart>
      <c:catAx>
        <c:axId val="251558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60000000" vert="horz"/>
          <a:lstStyle/>
          <a:p>
            <a:pPr>
              <a:defRPr sz="1200"/>
            </a:pPr>
            <a:endParaRPr lang="en-US"/>
          </a:p>
        </c:txPr>
        <c:crossAx val="333891984"/>
        <c:crosses val="autoZero"/>
        <c:auto val="1"/>
        <c:lblAlgn val="ctr"/>
        <c:lblOffset val="200"/>
        <c:noMultiLvlLbl val="0"/>
      </c:catAx>
      <c:valAx>
        <c:axId val="33389198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Direct Loss Ratio Thru Q2</a:t>
                </a:r>
              </a:p>
            </c:rich>
          </c:tx>
          <c:overlay val="0"/>
        </c:title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 sz="1200"/>
            </a:pPr>
            <a:endParaRPr lang="en-US"/>
          </a:p>
        </c:txPr>
        <c:crossAx val="251558928"/>
        <c:crosses val="autoZero"/>
        <c:crossBetween val="between"/>
        <c:majorUnit val="5.000000000000001E-2"/>
      </c:valAx>
    </c:plotArea>
    <c:plotVisOnly val="1"/>
    <c:dispBlanksAs val="gap"/>
    <c:showDLblsOverMax val="0"/>
  </c:chart>
  <c:spPr>
    <a:ln>
      <a:solidFill>
        <a:schemeClr val="accent2"/>
      </a:solidFill>
    </a:ln>
  </c:spPr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82528407984616E-2"/>
          <c:y val="3.4661451319408544E-2"/>
          <c:w val="0.86583646814177906"/>
          <c:h val="0.82824296962879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sses $ B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C74-493F-90D3-7BC3CBDAB987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C74-493F-90D3-7BC3CBDAB987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C74-493F-90D3-7BC3CBDAB987}"/>
              </c:ext>
            </c:extLst>
          </c:dPt>
          <c:dPt>
            <c:idx val="1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BE6-4C8B-9C7D-CBE440554E4E}"/>
              </c:ext>
            </c:extLst>
          </c:dPt>
          <c:dPt>
            <c:idx val="2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16A-41C9-977A-9EDD99BEF60F}"/>
              </c:ext>
            </c:extLst>
          </c:dPt>
          <c:dPt>
            <c:idx val="3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BAC-486D-9DB5-11FF1BEA56F2}"/>
              </c:ext>
            </c:extLst>
          </c:dPt>
          <c:dLbls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CE3-4032-BC0D-1D18111A6664}"/>
                </c:ext>
              </c:extLst>
            </c:dLbl>
            <c:dLbl>
              <c:idx val="2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710-43AA-898A-8DB93BB646C2}"/>
                </c:ext>
              </c:extLst>
            </c:dLbl>
            <c:dLbl>
              <c:idx val="2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710-43AA-898A-8DB93BB646C2}"/>
                </c:ext>
              </c:extLst>
            </c:dLbl>
            <c:dLbl>
              <c:idx val="3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710-43AA-898A-8DB93BB646C2}"/>
                </c:ext>
              </c:extLst>
            </c:dLbl>
            <c:dLbl>
              <c:idx val="3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710-43AA-898A-8DB93BB646C2}"/>
                </c:ext>
              </c:extLst>
            </c:dLbl>
            <c:dLbl>
              <c:idx val="3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5D8-42B2-B231-D40972C0E328}"/>
                </c:ext>
              </c:extLst>
            </c:dLbl>
            <c:dLbl>
              <c:idx val="4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0D7-4FE3-ACE8-DAADF0129CD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5:$A$45</c:f>
              <c:strCache>
                <c:ptCount val="41"/>
                <c:pt idx="0">
                  <c:v>80</c:v>
                </c:pt>
                <c:pt idx="1">
                  <c:v>81</c:v>
                </c:pt>
                <c:pt idx="2">
                  <c:v>82</c:v>
                </c:pt>
                <c:pt idx="3">
                  <c:v>83</c:v>
                </c:pt>
                <c:pt idx="4">
                  <c:v>84</c:v>
                </c:pt>
                <c:pt idx="5">
                  <c:v>85</c:v>
                </c:pt>
                <c:pt idx="6">
                  <c:v>86</c:v>
                </c:pt>
                <c:pt idx="7">
                  <c:v>87</c:v>
                </c:pt>
                <c:pt idx="8">
                  <c:v>88</c:v>
                </c:pt>
                <c:pt idx="9">
                  <c:v>89</c:v>
                </c:pt>
                <c:pt idx="10">
                  <c:v>90</c:v>
                </c:pt>
                <c:pt idx="11">
                  <c:v>91</c:v>
                </c:pt>
                <c:pt idx="12">
                  <c:v>92</c:v>
                </c:pt>
                <c:pt idx="13">
                  <c:v>93</c:v>
                </c:pt>
                <c:pt idx="14">
                  <c:v>94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00</c:v>
                </c:pt>
                <c:pt idx="21">
                  <c:v>01</c:v>
                </c:pt>
                <c:pt idx="22">
                  <c:v>02</c:v>
                </c:pt>
                <c:pt idx="23">
                  <c:v>03</c:v>
                </c:pt>
                <c:pt idx="24">
                  <c:v>04</c:v>
                </c:pt>
                <c:pt idx="25">
                  <c:v>05</c:v>
                </c:pt>
                <c:pt idx="26">
                  <c:v>06</c:v>
                </c:pt>
                <c:pt idx="27">
                  <c:v>07</c:v>
                </c:pt>
                <c:pt idx="28">
                  <c:v>08</c:v>
                </c:pt>
                <c:pt idx="29">
                  <c:v>09</c:v>
                </c:pt>
                <c:pt idx="30">
                  <c:v>10</c:v>
                </c:pt>
                <c:pt idx="31">
                  <c:v>11</c:v>
                </c:pt>
                <c:pt idx="32">
                  <c:v>12</c:v>
                </c:pt>
                <c:pt idx="33">
                  <c:v>13</c:v>
                </c:pt>
                <c:pt idx="34">
                  <c:v>14</c:v>
                </c:pt>
                <c:pt idx="35">
                  <c:v>15</c:v>
                </c:pt>
                <c:pt idx="36">
                  <c:v>16</c:v>
                </c:pt>
                <c:pt idx="37">
                  <c:v>17</c:v>
                </c:pt>
                <c:pt idx="38">
                  <c:v>18</c:v>
                </c:pt>
                <c:pt idx="39">
                  <c:v>19</c:v>
                </c:pt>
                <c:pt idx="40">
                  <c:v>20*</c:v>
                </c:pt>
              </c:strCache>
            </c:strRef>
          </c:cat>
          <c:val>
            <c:numRef>
              <c:f>Sheet1!$B$5:$B$45</c:f>
              <c:numCache>
                <c:formatCode>"$"#,##0.0</c:formatCode>
                <c:ptCount val="41"/>
                <c:pt idx="0">
                  <c:v>3.48</c:v>
                </c:pt>
                <c:pt idx="1">
                  <c:v>1.95</c:v>
                </c:pt>
                <c:pt idx="2">
                  <c:v>3.99</c:v>
                </c:pt>
                <c:pt idx="3">
                  <c:v>5.73</c:v>
                </c:pt>
                <c:pt idx="4">
                  <c:v>3.78</c:v>
                </c:pt>
                <c:pt idx="5">
                  <c:v>6.65</c:v>
                </c:pt>
                <c:pt idx="6">
                  <c:v>2.0499999999999998</c:v>
                </c:pt>
                <c:pt idx="7">
                  <c:v>2.0499999999999998</c:v>
                </c:pt>
                <c:pt idx="8">
                  <c:v>2.97</c:v>
                </c:pt>
                <c:pt idx="9">
                  <c:v>15.34</c:v>
                </c:pt>
                <c:pt idx="10">
                  <c:v>5.32</c:v>
                </c:pt>
                <c:pt idx="11">
                  <c:v>8.8000000000000007</c:v>
                </c:pt>
                <c:pt idx="12">
                  <c:v>41.32</c:v>
                </c:pt>
                <c:pt idx="13">
                  <c:v>9.7200000000000006</c:v>
                </c:pt>
                <c:pt idx="14">
                  <c:v>28.84</c:v>
                </c:pt>
                <c:pt idx="15">
                  <c:v>13.81</c:v>
                </c:pt>
                <c:pt idx="16">
                  <c:v>11.97</c:v>
                </c:pt>
                <c:pt idx="17">
                  <c:v>4.1900000000000004</c:v>
                </c:pt>
                <c:pt idx="18">
                  <c:v>15.75</c:v>
                </c:pt>
                <c:pt idx="19">
                  <c:v>12.58</c:v>
                </c:pt>
                <c:pt idx="20">
                  <c:v>6.65</c:v>
                </c:pt>
                <c:pt idx="21">
                  <c:v>37.950000000000003</c:v>
                </c:pt>
                <c:pt idx="22">
                  <c:v>8.2899999999999991</c:v>
                </c:pt>
                <c:pt idx="23">
                  <c:v>17.8</c:v>
                </c:pt>
                <c:pt idx="24">
                  <c:v>36.82</c:v>
                </c:pt>
                <c:pt idx="25">
                  <c:v>80.400000000000006</c:v>
                </c:pt>
                <c:pt idx="26">
                  <c:v>11.56</c:v>
                </c:pt>
                <c:pt idx="27">
                  <c:v>8.18</c:v>
                </c:pt>
                <c:pt idx="28">
                  <c:v>32.020000000000003</c:v>
                </c:pt>
                <c:pt idx="29">
                  <c:v>12.23</c:v>
                </c:pt>
                <c:pt idx="30">
                  <c:v>16.7</c:v>
                </c:pt>
                <c:pt idx="31">
                  <c:v>38.5</c:v>
                </c:pt>
                <c:pt idx="32">
                  <c:v>39.299999999999997</c:v>
                </c:pt>
                <c:pt idx="33">
                  <c:v>14.2</c:v>
                </c:pt>
                <c:pt idx="34">
                  <c:v>16.8</c:v>
                </c:pt>
                <c:pt idx="35">
                  <c:v>16.399999999999999</c:v>
                </c:pt>
                <c:pt idx="36">
                  <c:v>23</c:v>
                </c:pt>
                <c:pt idx="37">
                  <c:v>111</c:v>
                </c:pt>
                <c:pt idx="38">
                  <c:v>50.9</c:v>
                </c:pt>
                <c:pt idx="39">
                  <c:v>24.2</c:v>
                </c:pt>
                <c:pt idx="40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74-493F-90D3-7BC3CBDAB9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03126992"/>
        <c:axId val="1303443920"/>
      </c:barChart>
      <c:lineChart>
        <c:grouping val="standard"/>
        <c:varyColors val="0"/>
        <c:ser>
          <c:idx val="2"/>
          <c:order val="1"/>
          <c:tx>
            <c:strRef>
              <c:f>Sheet1!$D$1</c:f>
              <c:strCache>
                <c:ptCount val="1"/>
                <c:pt idx="0">
                  <c:v>Average for Decade</c:v>
                </c:pt>
              </c:strCache>
            </c:strRef>
          </c:tx>
          <c:spPr>
            <a:ln w="19050">
              <a:solidFill>
                <a:schemeClr val="tx1">
                  <a:lumMod val="75000"/>
                  <a:lumOff val="25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4.9862730437627019E-2"/>
                  <c:y val="-0.243759398496240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980s:$</a:t>
                    </a:r>
                    <a:fld id="{1E4725C8-E8DB-49AC-99C8-2CBDA2CA931B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29-F9DC-4CD7-A5CC-256FA0ED0B14}"/>
                </c:ext>
              </c:extLst>
            </c:dLbl>
            <c:dLbl>
              <c:idx val="10"/>
              <c:layout>
                <c:manualLayout>
                  <c:x val="-0.11169887146895956"/>
                  <c:y val="-0.27684210526315794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990s: $</a:t>
                    </a:r>
                    <a:fld id="{84E1BFDB-0918-4CC9-8196-609CE08F8062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6-F9DC-4CD7-A5CC-256FA0ED0B14}"/>
                </c:ext>
              </c:extLst>
            </c:dLbl>
            <c:dLbl>
              <c:idx val="20"/>
              <c:layout>
                <c:manualLayout>
                  <c:x val="-0.16579370372139418"/>
                  <c:y val="-0.25282377815998186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400" b="1"/>
                    </a:pPr>
                    <a:r>
                      <a:rPr lang="en-US" dirty="0"/>
                      <a:t>2000s: $</a:t>
                    </a:r>
                    <a:fld id="{0BFF2094-A064-4D60-AEED-4ED1FDC3B945}" type="VALUE">
                      <a:rPr lang="en-US" smtClean="0"/>
                      <a:pPr>
                        <a:defRPr sz="1400" b="1"/>
                      </a:pPr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16772028905325"/>
                      <c:h val="8.3957374710412092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F9DC-4CD7-A5CC-256FA0ED0B14}"/>
                </c:ext>
              </c:extLst>
            </c:dLbl>
            <c:dLbl>
              <c:idx val="30"/>
              <c:layout>
                <c:manualLayout>
                  <c:x val="-5.531904951050258E-2"/>
                  <c:y val="-0.15353383458646616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010s: $</a:t>
                    </a:r>
                    <a:fld id="{0E3ADEC9-83B9-43E8-8B31-4F6E9597E78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30-F9DC-4CD7-A5CC-256FA0ED0B1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prstDash val="lgDash"/>
                    </a:ln>
                  </c:spPr>
                </c15:leaderLines>
              </c:ext>
            </c:extLst>
          </c:dLbls>
          <c:cat>
            <c:strRef>
              <c:f>Sheet1!$A$2:$A$47</c:f>
              <c:strCache>
                <c:ptCount val="44"/>
                <c:pt idx="0">
                  <c:v>77</c:v>
                </c:pt>
                <c:pt idx="1">
                  <c:v>78</c:v>
                </c:pt>
                <c:pt idx="2">
                  <c:v>79</c:v>
                </c:pt>
                <c:pt idx="3">
                  <c:v>80</c:v>
                </c:pt>
                <c:pt idx="4">
                  <c:v>81</c:v>
                </c:pt>
                <c:pt idx="5">
                  <c:v>82</c:v>
                </c:pt>
                <c:pt idx="6">
                  <c:v>83</c:v>
                </c:pt>
                <c:pt idx="7">
                  <c:v>84</c:v>
                </c:pt>
                <c:pt idx="8">
                  <c:v>85</c:v>
                </c:pt>
                <c:pt idx="9">
                  <c:v>86</c:v>
                </c:pt>
                <c:pt idx="10">
                  <c:v>87</c:v>
                </c:pt>
                <c:pt idx="11">
                  <c:v>88</c:v>
                </c:pt>
                <c:pt idx="12">
                  <c:v>89</c:v>
                </c:pt>
                <c:pt idx="13">
                  <c:v>90</c:v>
                </c:pt>
                <c:pt idx="14">
                  <c:v>91</c:v>
                </c:pt>
                <c:pt idx="15">
                  <c:v>92</c:v>
                </c:pt>
                <c:pt idx="16">
                  <c:v>93</c:v>
                </c:pt>
                <c:pt idx="17">
                  <c:v>94</c:v>
                </c:pt>
                <c:pt idx="18">
                  <c:v>95</c:v>
                </c:pt>
                <c:pt idx="19">
                  <c:v>96</c:v>
                </c:pt>
                <c:pt idx="20">
                  <c:v>97</c:v>
                </c:pt>
                <c:pt idx="21">
                  <c:v>98</c:v>
                </c:pt>
                <c:pt idx="22">
                  <c:v>99</c:v>
                </c:pt>
                <c:pt idx="23">
                  <c:v>00</c:v>
                </c:pt>
                <c:pt idx="24">
                  <c:v>01</c:v>
                </c:pt>
                <c:pt idx="25">
                  <c:v>02</c:v>
                </c:pt>
                <c:pt idx="26">
                  <c:v>03</c:v>
                </c:pt>
                <c:pt idx="27">
                  <c:v>04</c:v>
                </c:pt>
                <c:pt idx="28">
                  <c:v>05</c:v>
                </c:pt>
                <c:pt idx="29">
                  <c:v>06</c:v>
                </c:pt>
                <c:pt idx="30">
                  <c:v>07</c:v>
                </c:pt>
                <c:pt idx="31">
                  <c:v>08</c:v>
                </c:pt>
                <c:pt idx="32">
                  <c:v>09</c:v>
                </c:pt>
                <c:pt idx="33">
                  <c:v>10</c:v>
                </c:pt>
                <c:pt idx="34">
                  <c:v>11</c:v>
                </c:pt>
                <c:pt idx="35">
                  <c:v>12</c:v>
                </c:pt>
                <c:pt idx="36">
                  <c:v>13</c:v>
                </c:pt>
                <c:pt idx="37">
                  <c:v>14</c:v>
                </c:pt>
                <c:pt idx="38">
                  <c:v>15</c:v>
                </c:pt>
                <c:pt idx="39">
                  <c:v>16</c:v>
                </c:pt>
                <c:pt idx="40">
                  <c:v>17</c:v>
                </c:pt>
                <c:pt idx="41">
                  <c:v>18</c:v>
                </c:pt>
                <c:pt idx="42">
                  <c:v>19</c:v>
                </c:pt>
                <c:pt idx="43">
                  <c:v>20*</c:v>
                </c:pt>
              </c:strCache>
            </c:strRef>
          </c:cat>
          <c:val>
            <c:numRef>
              <c:f>Sheet1!$D$5:$D$45</c:f>
              <c:numCache>
                <c:formatCode>"$"#,##0.0</c:formatCode>
                <c:ptCount val="41"/>
                <c:pt idx="0">
                  <c:v>4.7989999999999995</c:v>
                </c:pt>
                <c:pt idx="1">
                  <c:v>4.7989999999999995</c:v>
                </c:pt>
                <c:pt idx="2">
                  <c:v>4.7989999999999995</c:v>
                </c:pt>
                <c:pt idx="3">
                  <c:v>4.7989999999999995</c:v>
                </c:pt>
                <c:pt idx="4">
                  <c:v>4.7989999999999995</c:v>
                </c:pt>
                <c:pt idx="5">
                  <c:v>4.7989999999999995</c:v>
                </c:pt>
                <c:pt idx="6">
                  <c:v>4.7989999999999995</c:v>
                </c:pt>
                <c:pt idx="7">
                  <c:v>4.7989999999999995</c:v>
                </c:pt>
                <c:pt idx="8">
                  <c:v>4.7989999999999995</c:v>
                </c:pt>
                <c:pt idx="9">
                  <c:v>4.7989999999999995</c:v>
                </c:pt>
                <c:pt idx="10">
                  <c:v>15.23</c:v>
                </c:pt>
                <c:pt idx="11">
                  <c:v>15.23</c:v>
                </c:pt>
                <c:pt idx="12">
                  <c:v>15.23</c:v>
                </c:pt>
                <c:pt idx="13">
                  <c:v>15.23</c:v>
                </c:pt>
                <c:pt idx="14">
                  <c:v>15.23</c:v>
                </c:pt>
                <c:pt idx="15">
                  <c:v>15.23</c:v>
                </c:pt>
                <c:pt idx="16">
                  <c:v>15.23</c:v>
                </c:pt>
                <c:pt idx="17">
                  <c:v>15.23</c:v>
                </c:pt>
                <c:pt idx="18">
                  <c:v>15.23</c:v>
                </c:pt>
                <c:pt idx="19">
                  <c:v>15.23</c:v>
                </c:pt>
                <c:pt idx="20">
                  <c:v>25.19</c:v>
                </c:pt>
                <c:pt idx="21">
                  <c:v>25.19</c:v>
                </c:pt>
                <c:pt idx="22">
                  <c:v>25.19</c:v>
                </c:pt>
                <c:pt idx="23">
                  <c:v>25.19</c:v>
                </c:pt>
                <c:pt idx="24">
                  <c:v>25.19</c:v>
                </c:pt>
                <c:pt idx="25">
                  <c:v>25.19</c:v>
                </c:pt>
                <c:pt idx="26">
                  <c:v>25.19</c:v>
                </c:pt>
                <c:pt idx="27">
                  <c:v>25.19</c:v>
                </c:pt>
                <c:pt idx="28">
                  <c:v>25.19</c:v>
                </c:pt>
                <c:pt idx="29">
                  <c:v>25.19</c:v>
                </c:pt>
                <c:pt idx="30">
                  <c:v>35.099999999999994</c:v>
                </c:pt>
                <c:pt idx="31">
                  <c:v>35.099999999999994</c:v>
                </c:pt>
                <c:pt idx="32">
                  <c:v>35.099999999999994</c:v>
                </c:pt>
                <c:pt idx="33">
                  <c:v>35.099999999999994</c:v>
                </c:pt>
                <c:pt idx="34">
                  <c:v>35.099999999999994</c:v>
                </c:pt>
                <c:pt idx="35">
                  <c:v>35.099999999999994</c:v>
                </c:pt>
                <c:pt idx="36">
                  <c:v>35.099999999999994</c:v>
                </c:pt>
                <c:pt idx="37">
                  <c:v>35.099999999999994</c:v>
                </c:pt>
                <c:pt idx="38">
                  <c:v>35.099999999999994</c:v>
                </c:pt>
                <c:pt idx="39">
                  <c:v>35.0999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9DC-4CD7-A5CC-256FA0ED0B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3126992"/>
        <c:axId val="1303443920"/>
      </c:lineChart>
      <c:catAx>
        <c:axId val="1303126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1400"/>
            </a:pPr>
            <a:endParaRPr lang="en-US"/>
          </a:p>
        </c:txPr>
        <c:crossAx val="1303443920"/>
        <c:crosses val="autoZero"/>
        <c:auto val="1"/>
        <c:lblAlgn val="ctr"/>
        <c:lblOffset val="100"/>
        <c:tickLblSkip val="2"/>
        <c:noMultiLvlLbl val="0"/>
      </c:catAx>
      <c:valAx>
        <c:axId val="1303443920"/>
        <c:scaling>
          <c:orientation val="minMax"/>
          <c:max val="115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sz="1400"/>
                </a:pPr>
                <a:r>
                  <a:rPr lang="en-US" sz="1400" dirty="0"/>
                  <a:t>Billions, 2019 $</a:t>
                </a:r>
              </a:p>
            </c:rich>
          </c:tx>
          <c:overlay val="0"/>
        </c:title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303126992"/>
        <c:crosses val="autoZero"/>
        <c:crossBetween val="between"/>
        <c:majorUnit val="10"/>
        <c:minorUnit val="0.01"/>
      </c:valAx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9.831989843999471E-2"/>
          <c:y val="2.4984662445931768E-2"/>
          <c:w val="0.21077992476459728"/>
          <c:h val="0.11293777751465277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811077791261129"/>
          <c:y val="3.6387398288762446E-2"/>
          <c:w val="0.75300107675673456"/>
          <c:h val="0.5845723654773672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erage loss, collisio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7"/>
              <c:layout>
                <c:manualLayout>
                  <c:x val="-2.8376863516447522E-3"/>
                  <c:y val="1.150859856592851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-17.6%</a:t>
                    </a:r>
                  </a:p>
                  <a:p>
                    <a:pPr>
                      <a:defRPr/>
                    </a:pP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196626862343389"/>
                      <c:h val="5.51531736880488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A3FD-41B9-B5F1-ED58E0DE7CA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2018:Q3</c:v>
                </c:pt>
                <c:pt idx="1">
                  <c:v>2018:Q4</c:v>
                </c:pt>
                <c:pt idx="2">
                  <c:v>2019:Q1</c:v>
                </c:pt>
                <c:pt idx="3">
                  <c:v>2019:Q2</c:v>
                </c:pt>
                <c:pt idx="4">
                  <c:v>2019:Q3</c:v>
                </c:pt>
                <c:pt idx="5">
                  <c:v>2019:Q4</c:v>
                </c:pt>
                <c:pt idx="6">
                  <c:v>2020:Q1</c:v>
                </c:pt>
                <c:pt idx="7">
                  <c:v>2020:Q2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7</c:v>
                </c:pt>
                <c:pt idx="1">
                  <c:v>4.0999999999999996</c:v>
                </c:pt>
                <c:pt idx="2">
                  <c:v>6.5</c:v>
                </c:pt>
                <c:pt idx="3">
                  <c:v>6</c:v>
                </c:pt>
                <c:pt idx="4">
                  <c:v>3.2</c:v>
                </c:pt>
                <c:pt idx="5">
                  <c:v>4.0999999999999996</c:v>
                </c:pt>
                <c:pt idx="6">
                  <c:v>2.9</c:v>
                </c:pt>
                <c:pt idx="7">
                  <c:v>-17.6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3FD-41B9-B5F1-ED58E0DE7CA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id claim frequency, collision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dash"/>
              <a:round/>
            </a:ln>
            <a:effectLst/>
          </c:spPr>
          <c:marker>
            <c:symbol val="none"/>
          </c:marker>
          <c:dLbls>
            <c:dLbl>
              <c:idx val="7"/>
              <c:layout>
                <c:manualLayout>
                  <c:x val="-0.11018298677378874"/>
                  <c:y val="-1.557007945644484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-37.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3FD-41B9-B5F1-ED58E0DE7CAD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2018:Q3</c:v>
                </c:pt>
                <c:pt idx="1">
                  <c:v>2018:Q4</c:v>
                </c:pt>
                <c:pt idx="2">
                  <c:v>2019:Q1</c:v>
                </c:pt>
                <c:pt idx="3">
                  <c:v>2019:Q2</c:v>
                </c:pt>
                <c:pt idx="4">
                  <c:v>2019:Q3</c:v>
                </c:pt>
                <c:pt idx="5">
                  <c:v>2019:Q4</c:v>
                </c:pt>
                <c:pt idx="6">
                  <c:v>2020:Q1</c:v>
                </c:pt>
                <c:pt idx="7">
                  <c:v>2020:Q2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-1.9</c:v>
                </c:pt>
                <c:pt idx="1">
                  <c:v>-1.5</c:v>
                </c:pt>
                <c:pt idx="2">
                  <c:v>-2.8</c:v>
                </c:pt>
                <c:pt idx="3">
                  <c:v>-4.0999999999999996</c:v>
                </c:pt>
                <c:pt idx="4">
                  <c:v>0.9</c:v>
                </c:pt>
                <c:pt idx="5">
                  <c:v>-1.2</c:v>
                </c:pt>
                <c:pt idx="6">
                  <c:v>-7.5</c:v>
                </c:pt>
                <c:pt idx="7">
                  <c:v>-37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3FD-41B9-B5F1-ED58E0DE7CA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verage loss, property damag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7"/>
              <c:tx>
                <c:rich>
                  <a:bodyPr/>
                  <a:lstStyle/>
                  <a:p>
                    <a:r>
                      <a:rPr lang="en-US" dirty="0"/>
                      <a:t>18.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2D0-46FC-9AAC-447C65A8B3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2018:Q3</c:v>
                </c:pt>
                <c:pt idx="1">
                  <c:v>2018:Q4</c:v>
                </c:pt>
                <c:pt idx="2">
                  <c:v>2019:Q1</c:v>
                </c:pt>
                <c:pt idx="3">
                  <c:v>2019:Q2</c:v>
                </c:pt>
                <c:pt idx="4">
                  <c:v>2019:Q3</c:v>
                </c:pt>
                <c:pt idx="5">
                  <c:v>2019:Q4</c:v>
                </c:pt>
                <c:pt idx="6">
                  <c:v>2020:Q1</c:v>
                </c:pt>
                <c:pt idx="7">
                  <c:v>2020:Q2</c:v>
                </c:pt>
              </c:strCache>
            </c:strRef>
          </c:cat>
          <c:val>
            <c:numRef>
              <c:f>Sheet1!$D$2:$D$9</c:f>
              <c:numCache>
                <c:formatCode>General</c:formatCode>
                <c:ptCount val="8"/>
                <c:pt idx="0">
                  <c:v>5</c:v>
                </c:pt>
                <c:pt idx="1">
                  <c:v>5.6</c:v>
                </c:pt>
                <c:pt idx="2">
                  <c:v>6.1</c:v>
                </c:pt>
                <c:pt idx="3">
                  <c:v>3.8</c:v>
                </c:pt>
                <c:pt idx="4">
                  <c:v>5.5</c:v>
                </c:pt>
                <c:pt idx="5">
                  <c:v>5.9</c:v>
                </c:pt>
                <c:pt idx="6">
                  <c:v>6.8</c:v>
                </c:pt>
                <c:pt idx="7">
                  <c:v>18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D0-46FC-9AAC-447C65A8B33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aid claim frequency, property damage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dash"/>
              <a:round/>
            </a:ln>
            <a:effectLst/>
          </c:spPr>
          <c:marker>
            <c:symbol val="none"/>
          </c:marker>
          <c:dLbls>
            <c:dLbl>
              <c:idx val="7"/>
              <c:layout>
                <c:manualLayout>
                  <c:x val="0"/>
                  <c:y val="7.83791762369148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-33.6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2D0-46FC-9AAC-447C65A8B3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2018:Q3</c:v>
                </c:pt>
                <c:pt idx="1">
                  <c:v>2018:Q4</c:v>
                </c:pt>
                <c:pt idx="2">
                  <c:v>2019:Q1</c:v>
                </c:pt>
                <c:pt idx="3">
                  <c:v>2019:Q2</c:v>
                </c:pt>
                <c:pt idx="4">
                  <c:v>2019:Q3</c:v>
                </c:pt>
                <c:pt idx="5">
                  <c:v>2019:Q4</c:v>
                </c:pt>
                <c:pt idx="6">
                  <c:v>2020:Q1</c:v>
                </c:pt>
                <c:pt idx="7">
                  <c:v>2020:Q2</c:v>
                </c:pt>
              </c:strCache>
            </c:strRef>
          </c:cat>
          <c:val>
            <c:numRef>
              <c:f>Sheet1!$E$2:$E$9</c:f>
              <c:numCache>
                <c:formatCode>General</c:formatCode>
                <c:ptCount val="8"/>
                <c:pt idx="0">
                  <c:v>-4.3</c:v>
                </c:pt>
                <c:pt idx="1">
                  <c:v>-3.4</c:v>
                </c:pt>
                <c:pt idx="2">
                  <c:v>-4.7</c:v>
                </c:pt>
                <c:pt idx="3">
                  <c:v>-5.3</c:v>
                </c:pt>
                <c:pt idx="4">
                  <c:v>-1.2</c:v>
                </c:pt>
                <c:pt idx="5">
                  <c:v>-4.7</c:v>
                </c:pt>
                <c:pt idx="6">
                  <c:v>-4.7</c:v>
                </c:pt>
                <c:pt idx="7">
                  <c:v>-33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D0-46FC-9AAC-447C65A8B3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25768880"/>
        <c:axId val="1333461872"/>
      </c:lineChart>
      <c:catAx>
        <c:axId val="1325768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3461872"/>
        <c:crossesAt val="0"/>
        <c:auto val="1"/>
        <c:lblAlgn val="ctr"/>
        <c:lblOffset val="100"/>
        <c:noMultiLvlLbl val="0"/>
      </c:catAx>
      <c:valAx>
        <c:axId val="133346187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dirty="0"/>
                  <a:t>%</a:t>
                </a:r>
                <a:r>
                  <a:rPr lang="en-US" sz="1000" b="1" baseline="0" dirty="0"/>
                  <a:t> </a:t>
                </a:r>
                <a:r>
                  <a:rPr lang="en-US" sz="1000" b="1" baseline="0" dirty="0" err="1"/>
                  <a:t>Chg</a:t>
                </a:r>
                <a:r>
                  <a:rPr lang="en-US" sz="1000" b="1" baseline="0" dirty="0"/>
                  <a:t> From </a:t>
                </a:r>
                <a:r>
                  <a:rPr lang="en-US" sz="1000" b="1" baseline="0" dirty="0" err="1"/>
                  <a:t>Yr</a:t>
                </a:r>
                <a:r>
                  <a:rPr lang="en-US" sz="1000" b="1" baseline="0" dirty="0"/>
                  <a:t> Prior</a:t>
                </a:r>
                <a:endParaRPr lang="en-US" sz="1000" b="1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5768880"/>
        <c:crosses val="autoZero"/>
        <c:crossBetween val="between"/>
        <c:dispUnits>
          <c:builtInUnit val="hundreds"/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4326547520714122E-2"/>
          <c:y val="0.83668384279368913"/>
          <c:w val="0.89475781605190841"/>
          <c:h val="0.157088125423732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481268178844591E-2"/>
          <c:y val="9.8414779535245842E-2"/>
          <c:w val="0.87629526243966871"/>
          <c:h val="0.748343688328275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les Driven (left axis)</c:v>
                </c:pt>
              </c:strCache>
            </c:strRef>
          </c:tx>
          <c:spPr>
            <a:ln w="31750"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175-4286-9632-692B04C6E899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175-4286-9632-692B04C6E899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175-4286-9632-692B04C6E899}"/>
                </c:ext>
              </c:extLst>
            </c:dLbl>
            <c:dLbl>
              <c:idx val="1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175-4286-9632-692B04C6E899}"/>
                </c:ext>
              </c:extLst>
            </c:dLbl>
            <c:dLbl>
              <c:idx val="1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175-4286-9632-692B04C6E89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27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cat>
          <c:val>
            <c:numRef>
              <c:f>Sheet1!$B$2:$B$27</c:f>
              <c:numCache>
                <c:formatCode>_(* #,##0_);_(* \(#,##0\);_(* "-"??_);_(@_)</c:formatCode>
                <c:ptCount val="17"/>
                <c:pt idx="0">
                  <c:v>2951.752</c:v>
                </c:pt>
                <c:pt idx="1">
                  <c:v>2988.489</c:v>
                </c:pt>
                <c:pt idx="2">
                  <c:v>3002.9059999999999</c:v>
                </c:pt>
                <c:pt idx="3">
                  <c:v>3033.8020000000001</c:v>
                </c:pt>
                <c:pt idx="4">
                  <c:v>2986.9459999999999</c:v>
                </c:pt>
                <c:pt idx="5">
                  <c:v>2961.7530000000002</c:v>
                </c:pt>
                <c:pt idx="6">
                  <c:v>2959.5569999999998</c:v>
                </c:pt>
                <c:pt idx="7">
                  <c:v>2951.9259999999999</c:v>
                </c:pt>
                <c:pt idx="8">
                  <c:v>2971.1750000000002</c:v>
                </c:pt>
                <c:pt idx="9">
                  <c:v>2980.8850000000002</c:v>
                </c:pt>
                <c:pt idx="10">
                  <c:v>3006.8290000000002</c:v>
                </c:pt>
                <c:pt idx="11">
                  <c:v>3077.5030000000002</c:v>
                </c:pt>
                <c:pt idx="12">
                  <c:v>3155.6019999999999</c:v>
                </c:pt>
                <c:pt idx="13">
                  <c:v>3202.884</c:v>
                </c:pt>
                <c:pt idx="14">
                  <c:v>3233.107</c:v>
                </c:pt>
                <c:pt idx="15">
                  <c:v>3260.8150000000001</c:v>
                </c:pt>
                <c:pt idx="16">
                  <c:v>2911.5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75-4286-9632-692B04C6E8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33922320"/>
        <c:axId val="333924640"/>
      </c:barChart>
      <c:catAx>
        <c:axId val="333922320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en-US"/>
          </a:p>
        </c:txPr>
        <c:crossAx val="333924640"/>
        <c:crossesAt val="0"/>
        <c:auto val="0"/>
        <c:lblAlgn val="ctr"/>
        <c:lblOffset val="100"/>
        <c:noMultiLvlLbl val="0"/>
      </c:catAx>
      <c:valAx>
        <c:axId val="333924640"/>
        <c:scaling>
          <c:orientation val="minMax"/>
          <c:min val="200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33922320"/>
        <c:crosses val="autoZero"/>
        <c:crossBetween val="between"/>
        <c:minorUnit val="1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63081322641786"/>
          <c:y val="3.6188284960625698E-2"/>
          <c:w val="0.8708762667582739"/>
          <c:h val="0.83499849812132576"/>
        </c:manualLayout>
      </c:layout>
      <c:barChart>
        <c:barDir val="col"/>
        <c:grouping val="clustered"/>
        <c:varyColors val="0"/>
        <c:ser>
          <c:idx val="0"/>
          <c:order val="1"/>
          <c:tx>
            <c:strRef>
              <c:f>Sheet1!$B$1</c:f>
              <c:strCache>
                <c:ptCount val="1"/>
                <c:pt idx="0">
                  <c:v>Commercial Lines</c:v>
                </c:pt>
              </c:strCache>
            </c:strRef>
          </c:tx>
          <c:invertIfNegative val="0"/>
          <c:dLbls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FF5-4A76-BF0F-3B826C5EBC83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FF5-4A76-BF0F-3B826C5EBC83}"/>
                </c:ext>
              </c:extLst>
            </c:dLbl>
            <c:dLbl>
              <c:idx val="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FF5-4A76-BF0F-3B826C5EBC83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FF5-4A76-BF0F-3B826C5EBC83}"/>
                </c:ext>
              </c:extLst>
            </c:dLbl>
            <c:dLbl>
              <c:idx val="1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60D-4384-BF03-ACD8EBF645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Sheet1!$B$2:$B$12</c:f>
              <c:numCache>
                <c:formatCode>0%</c:formatCode>
                <c:ptCount val="11"/>
                <c:pt idx="0">
                  <c:v>0.98450000000000004</c:v>
                </c:pt>
                <c:pt idx="1">
                  <c:v>1.0271999999999999</c:v>
                </c:pt>
                <c:pt idx="2">
                  <c:v>1.0801000000000001</c:v>
                </c:pt>
                <c:pt idx="3">
                  <c:v>1.0355000000000001</c:v>
                </c:pt>
                <c:pt idx="4">
                  <c:v>0.93430000000000002</c:v>
                </c:pt>
                <c:pt idx="5">
                  <c:v>0.94040000000000001</c:v>
                </c:pt>
                <c:pt idx="6">
                  <c:v>0.9355</c:v>
                </c:pt>
                <c:pt idx="7">
                  <c:v>0.97750000000000004</c:v>
                </c:pt>
                <c:pt idx="8">
                  <c:v>1.0322</c:v>
                </c:pt>
                <c:pt idx="9">
                  <c:v>0.98450000000000004</c:v>
                </c:pt>
                <c:pt idx="10">
                  <c:v>0.98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C2-481F-8284-FEFBC67A212F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8E0-4970-A606-0F0FD8548563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8E0-4970-A606-0F0FD8548563}"/>
                </c:ext>
              </c:extLst>
            </c:dLbl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8E0-4970-A606-0F0FD85485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</c:numCache>
            </c:numRef>
          </c:val>
          <c:extLst>
            <c:ext xmlns:c16="http://schemas.microsoft.com/office/drawing/2014/chart" uri="{C3380CC4-5D6E-409C-BE32-E72D297353CC}">
              <c16:uniqueId val="{00000000-B8E0-4970-A606-0F0FD85485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50"/>
        <c:axId val="251558928"/>
        <c:axId val="333891984"/>
        <c:extLst>
          <c:ext xmlns:c15="http://schemas.microsoft.com/office/drawing/2012/chart" uri="{02D57815-91ED-43cb-92C2-25804820EDAC}">
            <c15:filteredBarSeries>
              <c15:ser>
                <c:idx val="1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 </c:v>
                      </c:pt>
                    </c:strCache>
                  </c:strRef>
                </c:tx>
                <c:spPr>
                  <a:ln w="19050">
                    <a:solidFill>
                      <a:schemeClr val="accent2"/>
                    </a:solidFill>
                    <a:miter lim="800000"/>
                  </a:ln>
                </c:spPr>
                <c:invertIfNegative val="0"/>
                <c:dLbls>
                  <c:dLbl>
                    <c:idx val="1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0-FFF5-4A76-BF0F-3B826C5EBC83}"/>
                      </c:ext>
                    </c:extLst>
                  </c:dLbl>
                  <c:dLbl>
                    <c:idx val="2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1-FFF5-4A76-BF0F-3B826C5EBC83}"/>
                      </c:ext>
                    </c:extLst>
                  </c:dLbl>
                  <c:dLbl>
                    <c:idx val="3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7-CF67-4313-B714-2B478BC1C0CA}"/>
                      </c:ext>
                    </c:extLst>
                  </c:dLbl>
                  <c:dLbl>
                    <c:idx val="4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2-FFF5-4A76-BF0F-3B826C5EBC83}"/>
                      </c:ext>
                    </c:extLst>
                  </c:dLbl>
                  <c:dLbl>
                    <c:idx val="5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3-FFF5-4A76-BF0F-3B826C5EBC83}"/>
                      </c:ext>
                    </c:extLst>
                  </c:dLbl>
                  <c:dLbl>
                    <c:idx val="6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8-CF67-4313-B714-2B478BC1C0CA}"/>
                      </c:ext>
                    </c:extLst>
                  </c:dLbl>
                  <c:dLbl>
                    <c:idx val="7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9-CF67-4313-B714-2B478BC1C0CA}"/>
                      </c:ext>
                    </c:extLst>
                  </c:dLbl>
                  <c:dLbl>
                    <c:idx val="8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A-CF67-4313-B714-2B478BC1C0CA}"/>
                      </c:ext>
                    </c:extLst>
                  </c:dLbl>
                  <c:dLbl>
                    <c:idx val="9"/>
                    <c:delete val="1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B-CF67-4313-B714-2B478BC1C0CA}"/>
                      </c:ext>
                    </c:extLst>
                  </c:dLbl>
                  <c:dLbl>
                    <c:idx val="10"/>
                    <c:layout>
                      <c:manualLayout>
                        <c:x val="-8.2793783957257928E-3"/>
                        <c:y val="1.4032238299079588E-17"/>
                      </c:manualLayout>
                    </c:layout>
                    <c:dLblPos val="outEnd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C-CF67-4313-B714-2B478BC1C0CA}"/>
                      </c:ext>
                    </c:extLst>
                  </c:dLbl>
                  <c:numFmt formatCode="0%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vert="horz"/>
                    <a:lstStyle/>
                    <a:p>
                      <a:pPr>
                        <a:defRPr sz="1200" b="1"/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0"/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2009</c:v>
                      </c:pt>
                      <c:pt idx="1">
                        <c:v>2010</c:v>
                      </c:pt>
                      <c:pt idx="2">
                        <c:v>2011</c:v>
                      </c:pt>
                      <c:pt idx="3">
                        <c:v>2012</c:v>
                      </c:pt>
                      <c:pt idx="4">
                        <c:v>2013</c:v>
                      </c:pt>
                      <c:pt idx="5">
                        <c:v>2014</c:v>
                      </c:pt>
                      <c:pt idx="6">
                        <c:v>2015</c:v>
                      </c:pt>
                      <c:pt idx="7">
                        <c:v>2016</c:v>
                      </c:pt>
                      <c:pt idx="8">
                        <c:v>2017</c:v>
                      </c:pt>
                      <c:pt idx="9">
                        <c:v>2018</c:v>
                      </c:pt>
                      <c:pt idx="10">
                        <c:v>201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2009</c:v>
                      </c:pt>
                      <c:pt idx="1">
                        <c:v>2010</c:v>
                      </c:pt>
                      <c:pt idx="2">
                        <c:v>2011</c:v>
                      </c:pt>
                      <c:pt idx="3">
                        <c:v>2012</c:v>
                      </c:pt>
                      <c:pt idx="4">
                        <c:v>2013</c:v>
                      </c:pt>
                      <c:pt idx="5">
                        <c:v>2014</c:v>
                      </c:pt>
                      <c:pt idx="6">
                        <c:v>2015</c:v>
                      </c:pt>
                      <c:pt idx="7">
                        <c:v>2016</c:v>
                      </c:pt>
                      <c:pt idx="8">
                        <c:v>2017</c:v>
                      </c:pt>
                      <c:pt idx="9">
                        <c:v>2018</c:v>
                      </c:pt>
                      <c:pt idx="10">
                        <c:v>201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D-CF67-4313-B714-2B478BC1C0CA}"/>
                  </c:ext>
                </c:extLst>
              </c15:ser>
            </c15:filteredBarSeries>
          </c:ext>
        </c:extLst>
      </c:barChart>
      <c:catAx>
        <c:axId val="251558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60000000" vert="horz"/>
          <a:lstStyle/>
          <a:p>
            <a:pPr>
              <a:defRPr/>
            </a:pPr>
            <a:endParaRPr lang="en-US"/>
          </a:p>
        </c:txPr>
        <c:crossAx val="333891984"/>
        <c:crossesAt val="1"/>
        <c:auto val="1"/>
        <c:lblAlgn val="ctr"/>
        <c:lblOffset val="200"/>
        <c:noMultiLvlLbl val="0"/>
      </c:catAx>
      <c:valAx>
        <c:axId val="333891984"/>
        <c:scaling>
          <c:orientation val="minMax"/>
          <c:min val="0.9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Combined Ratio</a:t>
                </a:r>
              </a:p>
            </c:rich>
          </c:tx>
          <c:overlay val="0"/>
        </c:title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2515589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11432860298107"/>
          <c:y val="3.4766292941986833E-2"/>
          <c:w val="0.87717749873884598"/>
          <c:h val="0.70597598213573931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Sheet1!$A$3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2FF-4185-B4CE-1E27A4B4F2F4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A36-4B1F-8EB3-A35911AAD6DB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A36-4B1F-8EB3-A35911AAD6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L$1</c:f>
              <c:strCache>
                <c:ptCount val="11"/>
                <c:pt idx="0">
                  <c:v>Fire&amp;Allied</c:v>
                </c:pt>
                <c:pt idx="1">
                  <c:v>CMP</c:v>
                </c:pt>
                <c:pt idx="2">
                  <c:v>MedMal</c:v>
                </c:pt>
                <c:pt idx="3">
                  <c:v>WC</c:v>
                </c:pt>
                <c:pt idx="4">
                  <c:v>OL</c:v>
                </c:pt>
                <c:pt idx="5">
                  <c:v>Products</c:v>
                </c:pt>
                <c:pt idx="6">
                  <c:v>CAL</c:v>
                </c:pt>
                <c:pt idx="7">
                  <c:v>Mortgage</c:v>
                </c:pt>
                <c:pt idx="8">
                  <c:v>Ocean Marine</c:v>
                </c:pt>
                <c:pt idx="9">
                  <c:v>Inland Marine</c:v>
                </c:pt>
                <c:pt idx="10">
                  <c:v>Aircraft</c:v>
                </c:pt>
              </c:strCache>
            </c:strRef>
          </c:cat>
          <c:val>
            <c:numRef>
              <c:f>Sheet1!$B$3:$L$3</c:f>
              <c:numCache>
                <c:formatCode>0%</c:formatCode>
                <c:ptCount val="11"/>
                <c:pt idx="0">
                  <c:v>0.57999999999999996</c:v>
                </c:pt>
                <c:pt idx="1">
                  <c:v>0.56999999999999995</c:v>
                </c:pt>
                <c:pt idx="2">
                  <c:v>0.6</c:v>
                </c:pt>
                <c:pt idx="3">
                  <c:v>0.5</c:v>
                </c:pt>
                <c:pt idx="4">
                  <c:v>0.57999999999999996</c:v>
                </c:pt>
                <c:pt idx="5">
                  <c:v>0.36</c:v>
                </c:pt>
                <c:pt idx="6">
                  <c:v>0.67</c:v>
                </c:pt>
                <c:pt idx="7">
                  <c:v>7.0000000000000007E-2</c:v>
                </c:pt>
                <c:pt idx="8">
                  <c:v>0.59</c:v>
                </c:pt>
                <c:pt idx="9">
                  <c:v>0.49</c:v>
                </c:pt>
                <c:pt idx="10">
                  <c:v>0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A36-4B1F-8EB3-A35911AAD6DB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2020</c:v>
                </c:pt>
              </c:strCache>
            </c:strRef>
          </c:tx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2FF-4185-B4CE-1E27A4B4F2F4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5FB-4EF0-B303-F053C2438473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5FB-4EF0-B303-F053C24384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L$1</c:f>
              <c:strCache>
                <c:ptCount val="11"/>
                <c:pt idx="0">
                  <c:v>Fire&amp;Allied</c:v>
                </c:pt>
                <c:pt idx="1">
                  <c:v>CMP</c:v>
                </c:pt>
                <c:pt idx="2">
                  <c:v>MedMal</c:v>
                </c:pt>
                <c:pt idx="3">
                  <c:v>WC</c:v>
                </c:pt>
                <c:pt idx="4">
                  <c:v>OL</c:v>
                </c:pt>
                <c:pt idx="5">
                  <c:v>Products</c:v>
                </c:pt>
                <c:pt idx="6">
                  <c:v>CAL</c:v>
                </c:pt>
                <c:pt idx="7">
                  <c:v>Mortgage</c:v>
                </c:pt>
                <c:pt idx="8">
                  <c:v>Ocean Marine</c:v>
                </c:pt>
                <c:pt idx="9">
                  <c:v>Inland Marine</c:v>
                </c:pt>
                <c:pt idx="10">
                  <c:v>Aircraft</c:v>
                </c:pt>
              </c:strCache>
            </c:strRef>
          </c:cat>
          <c:val>
            <c:numRef>
              <c:f>Sheet1!$B$4:$L$4</c:f>
              <c:numCache>
                <c:formatCode>0%</c:formatCode>
                <c:ptCount val="11"/>
                <c:pt idx="0">
                  <c:v>0.67</c:v>
                </c:pt>
                <c:pt idx="1">
                  <c:v>0.59</c:v>
                </c:pt>
                <c:pt idx="2">
                  <c:v>0.6</c:v>
                </c:pt>
                <c:pt idx="3">
                  <c:v>0.5</c:v>
                </c:pt>
                <c:pt idx="4">
                  <c:v>0.61</c:v>
                </c:pt>
                <c:pt idx="5">
                  <c:v>0.36</c:v>
                </c:pt>
                <c:pt idx="6">
                  <c:v>0.68</c:v>
                </c:pt>
                <c:pt idx="7">
                  <c:v>0.47</c:v>
                </c:pt>
                <c:pt idx="8">
                  <c:v>0.59</c:v>
                </c:pt>
                <c:pt idx="9">
                  <c:v>0.73</c:v>
                </c:pt>
                <c:pt idx="10">
                  <c:v>0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FB-4EF0-B303-F053C24384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7966528"/>
        <c:axId val="327954376"/>
        <c:extLst>
          <c:ext xmlns:c15="http://schemas.microsoft.com/office/drawing/2012/chart" uri="{02D57815-91ED-43cb-92C2-25804820EDAC}">
            <c15:filteredBarSeries>
              <c15:ser>
                <c:idx val="1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invertIfNegative val="0"/>
                <c:dLbls>
                  <c:dLbl>
                    <c:idx val="4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10-6A36-4B1F-8EB3-A35911AAD6DB}"/>
                      </c:ext>
                    </c:extLst>
                  </c:dLbl>
                  <c:dLbl>
                    <c:idx val="8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D-6A36-4B1F-8EB3-A35911AAD6DB}"/>
                      </c:ext>
                    </c:extLst>
                  </c:dLbl>
                  <c:dLbl>
                    <c:idx val="9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B-6A36-4B1F-8EB3-A35911AAD6DB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sz="1400" b="1"/>
                      </a:pPr>
                      <a:endParaRPr lang="en-US"/>
                    </a:p>
                  </c:txPr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B$1:$L$1</c15:sqref>
                        </c15:formulaRef>
                      </c:ext>
                    </c:extLst>
                    <c:strCache>
                      <c:ptCount val="11"/>
                      <c:pt idx="0">
                        <c:v>Fire&amp;Allied</c:v>
                      </c:pt>
                      <c:pt idx="1">
                        <c:v>CMP</c:v>
                      </c:pt>
                      <c:pt idx="2">
                        <c:v>MedMal</c:v>
                      </c:pt>
                      <c:pt idx="3">
                        <c:v>WC</c:v>
                      </c:pt>
                      <c:pt idx="4">
                        <c:v>OL</c:v>
                      </c:pt>
                      <c:pt idx="5">
                        <c:v>Products</c:v>
                      </c:pt>
                      <c:pt idx="6">
                        <c:v>CAL</c:v>
                      </c:pt>
                      <c:pt idx="7">
                        <c:v>Mortgage</c:v>
                      </c:pt>
                      <c:pt idx="8">
                        <c:v>Ocean Marine</c:v>
                      </c:pt>
                      <c:pt idx="9">
                        <c:v>Inland Marine</c:v>
                      </c:pt>
                      <c:pt idx="10">
                        <c:v>Aircraft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1:$K$1</c15:sqref>
                        </c15:formulaRef>
                      </c:ext>
                    </c:extLst>
                    <c:numCache>
                      <c:formatCode>@</c:formatCode>
                      <c:ptCount val="10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8-6A36-4B1F-8EB3-A35911AAD6DB}"/>
                  </c:ext>
                </c:extLst>
              </c15:ser>
            </c15:filteredBarSeries>
          </c:ext>
        </c:extLst>
      </c:barChart>
      <c:catAx>
        <c:axId val="3279665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spPr>
          <a:ln/>
        </c:spPr>
        <c:txPr>
          <a:bodyPr rot="-5400000" vert="horz"/>
          <a:lstStyle/>
          <a:p>
            <a:pPr>
              <a:defRPr sz="1200"/>
            </a:pPr>
            <a:endParaRPr lang="en-US"/>
          </a:p>
        </c:txPr>
        <c:crossAx val="327954376"/>
        <c:crossesAt val="0"/>
        <c:auto val="0"/>
        <c:lblAlgn val="ctr"/>
        <c:lblOffset val="100"/>
        <c:noMultiLvlLbl val="0"/>
      </c:catAx>
      <c:valAx>
        <c:axId val="32795437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327966528"/>
        <c:crosses val="autoZero"/>
        <c:crossBetween val="between"/>
      </c:valAx>
    </c:plotArea>
    <c:legend>
      <c:legendPos val="t"/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019866481576412E-2"/>
          <c:y val="2.2560401332261733E-2"/>
          <c:w val="0.90035862196084304"/>
          <c:h val="0.8536365738647901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arketScout</c:v>
                </c:pt>
              </c:strCache>
            </c:strRef>
          </c:tx>
          <c:marker>
            <c:symbol val="none"/>
          </c:marker>
          <c:dLbls>
            <c:dLbl>
              <c:idx val="0"/>
              <c:dLblPos val="b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F00-4858-A3F6-10BF6C71D598}"/>
                </c:ext>
              </c:extLst>
            </c:dLbl>
            <c:dLbl>
              <c:idx val="3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F00-4858-A3F6-10BF6C71D5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C$1:$AG$1</c:f>
              <c:strCache>
                <c:ptCount val="31"/>
                <c:pt idx="0">
                  <c:v>2013:Q1</c:v>
                </c:pt>
                <c:pt idx="1">
                  <c:v>2013:Q2</c:v>
                </c:pt>
                <c:pt idx="2">
                  <c:v>2013:Q3</c:v>
                </c:pt>
                <c:pt idx="3">
                  <c:v>2013:Q4</c:v>
                </c:pt>
                <c:pt idx="4">
                  <c:v>2014:Q1</c:v>
                </c:pt>
                <c:pt idx="5">
                  <c:v>2014:Q2</c:v>
                </c:pt>
                <c:pt idx="6">
                  <c:v>2014:Q3</c:v>
                </c:pt>
                <c:pt idx="7">
                  <c:v>2014:Q4</c:v>
                </c:pt>
                <c:pt idx="8">
                  <c:v>2015:Q1</c:v>
                </c:pt>
                <c:pt idx="9">
                  <c:v>2015:Q2</c:v>
                </c:pt>
                <c:pt idx="10">
                  <c:v>2015:Q3</c:v>
                </c:pt>
                <c:pt idx="11">
                  <c:v>2015:Q4</c:v>
                </c:pt>
                <c:pt idx="12">
                  <c:v>2016:Q1</c:v>
                </c:pt>
                <c:pt idx="13">
                  <c:v>2016:Q2</c:v>
                </c:pt>
                <c:pt idx="14">
                  <c:v>2016:Q3</c:v>
                </c:pt>
                <c:pt idx="15">
                  <c:v>2016:Q4</c:v>
                </c:pt>
                <c:pt idx="16">
                  <c:v>2017:Q1</c:v>
                </c:pt>
                <c:pt idx="17">
                  <c:v>2017:Q2</c:v>
                </c:pt>
                <c:pt idx="18">
                  <c:v>2017:Q3</c:v>
                </c:pt>
                <c:pt idx="19">
                  <c:v>2017:Q4</c:v>
                </c:pt>
                <c:pt idx="20">
                  <c:v>2018:Q1</c:v>
                </c:pt>
                <c:pt idx="21">
                  <c:v>2018:Q2</c:v>
                </c:pt>
                <c:pt idx="22">
                  <c:v>2018:Q3</c:v>
                </c:pt>
                <c:pt idx="23">
                  <c:v>2018:Q4</c:v>
                </c:pt>
                <c:pt idx="24">
                  <c:v>2019:Q1</c:v>
                </c:pt>
                <c:pt idx="25">
                  <c:v>2019:Q2</c:v>
                </c:pt>
                <c:pt idx="26">
                  <c:v>2019:Q3</c:v>
                </c:pt>
                <c:pt idx="27">
                  <c:v>2019:Q4</c:v>
                </c:pt>
                <c:pt idx="28">
                  <c:v>2020:Q1</c:v>
                </c:pt>
                <c:pt idx="29">
                  <c:v>2020:Q2</c:v>
                </c:pt>
                <c:pt idx="30">
                  <c:v>2020:Q3</c:v>
                </c:pt>
              </c:strCache>
            </c:strRef>
          </c:cat>
          <c:val>
            <c:numRef>
              <c:f>Sheet1!$C$2:$AG$2</c:f>
              <c:numCache>
                <c:formatCode>0%</c:formatCode>
                <c:ptCount val="31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3</c:v>
                </c:pt>
                <c:pt idx="4">
                  <c:v>0.03</c:v>
                </c:pt>
                <c:pt idx="5">
                  <c:v>0.02</c:v>
                </c:pt>
                <c:pt idx="6">
                  <c:v>0.0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-0.01</c:v>
                </c:pt>
                <c:pt idx="11">
                  <c:v>-0.04</c:v>
                </c:pt>
                <c:pt idx="12">
                  <c:v>-0.03</c:v>
                </c:pt>
                <c:pt idx="13">
                  <c:v>-0.01</c:v>
                </c:pt>
                <c:pt idx="14">
                  <c:v>-0.01</c:v>
                </c:pt>
                <c:pt idx="15">
                  <c:v>-0.01</c:v>
                </c:pt>
                <c:pt idx="16">
                  <c:v>0.01</c:v>
                </c:pt>
                <c:pt idx="17">
                  <c:v>0.01</c:v>
                </c:pt>
                <c:pt idx="18" formatCode="0.00%">
                  <c:v>0.01</c:v>
                </c:pt>
                <c:pt idx="19">
                  <c:v>0.02</c:v>
                </c:pt>
                <c:pt idx="20">
                  <c:v>0.02</c:v>
                </c:pt>
                <c:pt idx="21" formatCode="0.0%">
                  <c:v>2.5000000000000001E-2</c:v>
                </c:pt>
                <c:pt idx="22" formatCode="0.0%">
                  <c:v>2.5000000000000001E-2</c:v>
                </c:pt>
                <c:pt idx="23">
                  <c:v>0.02</c:v>
                </c:pt>
                <c:pt idx="24">
                  <c:v>0.02</c:v>
                </c:pt>
                <c:pt idx="25">
                  <c:v>0.03</c:v>
                </c:pt>
                <c:pt idx="26">
                  <c:v>0.04</c:v>
                </c:pt>
                <c:pt idx="27">
                  <c:v>0.02</c:v>
                </c:pt>
                <c:pt idx="28" formatCode="0.0%">
                  <c:v>4.4999999999999998E-2</c:v>
                </c:pt>
                <c:pt idx="29">
                  <c:v>0.05</c:v>
                </c:pt>
                <c:pt idx="30">
                  <c:v>6.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8D9-4DBB-8ACA-C8D23E2B11D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illis</c:v>
                </c:pt>
              </c:strCache>
            </c:strRef>
          </c:tx>
          <c:marker>
            <c:symbol val="none"/>
          </c:marker>
          <c:dLbls>
            <c:dLbl>
              <c:idx val="6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8D9-4DBB-8ACA-C8D23E2B11D0}"/>
                </c:ext>
              </c:extLst>
            </c:dLbl>
            <c:dLbl>
              <c:idx val="2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00-4858-A3F6-10BF6C71D5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C$1:$AG$1</c:f>
              <c:strCache>
                <c:ptCount val="31"/>
                <c:pt idx="0">
                  <c:v>2013:Q1</c:v>
                </c:pt>
                <c:pt idx="1">
                  <c:v>2013:Q2</c:v>
                </c:pt>
                <c:pt idx="2">
                  <c:v>2013:Q3</c:v>
                </c:pt>
                <c:pt idx="3">
                  <c:v>2013:Q4</c:v>
                </c:pt>
                <c:pt idx="4">
                  <c:v>2014:Q1</c:v>
                </c:pt>
                <c:pt idx="5">
                  <c:v>2014:Q2</c:v>
                </c:pt>
                <c:pt idx="6">
                  <c:v>2014:Q3</c:v>
                </c:pt>
                <c:pt idx="7">
                  <c:v>2014:Q4</c:v>
                </c:pt>
                <c:pt idx="8">
                  <c:v>2015:Q1</c:v>
                </c:pt>
                <c:pt idx="9">
                  <c:v>2015:Q2</c:v>
                </c:pt>
                <c:pt idx="10">
                  <c:v>2015:Q3</c:v>
                </c:pt>
                <c:pt idx="11">
                  <c:v>2015:Q4</c:v>
                </c:pt>
                <c:pt idx="12">
                  <c:v>2016:Q1</c:v>
                </c:pt>
                <c:pt idx="13">
                  <c:v>2016:Q2</c:v>
                </c:pt>
                <c:pt idx="14">
                  <c:v>2016:Q3</c:v>
                </c:pt>
                <c:pt idx="15">
                  <c:v>2016:Q4</c:v>
                </c:pt>
                <c:pt idx="16">
                  <c:v>2017:Q1</c:v>
                </c:pt>
                <c:pt idx="17">
                  <c:v>2017:Q2</c:v>
                </c:pt>
                <c:pt idx="18">
                  <c:v>2017:Q3</c:v>
                </c:pt>
                <c:pt idx="19">
                  <c:v>2017:Q4</c:v>
                </c:pt>
                <c:pt idx="20">
                  <c:v>2018:Q1</c:v>
                </c:pt>
                <c:pt idx="21">
                  <c:v>2018:Q2</c:v>
                </c:pt>
                <c:pt idx="22">
                  <c:v>2018:Q3</c:v>
                </c:pt>
                <c:pt idx="23">
                  <c:v>2018:Q4</c:v>
                </c:pt>
                <c:pt idx="24">
                  <c:v>2019:Q1</c:v>
                </c:pt>
                <c:pt idx="25">
                  <c:v>2019:Q2</c:v>
                </c:pt>
                <c:pt idx="26">
                  <c:v>2019:Q3</c:v>
                </c:pt>
                <c:pt idx="27">
                  <c:v>2019:Q4</c:v>
                </c:pt>
                <c:pt idx="28">
                  <c:v>2020:Q1</c:v>
                </c:pt>
                <c:pt idx="29">
                  <c:v>2020:Q2</c:v>
                </c:pt>
                <c:pt idx="30">
                  <c:v>2020:Q3</c:v>
                </c:pt>
              </c:strCache>
            </c:strRef>
          </c:cat>
          <c:val>
            <c:numRef>
              <c:f>Sheet1!$C$3:$AG$3</c:f>
              <c:numCache>
                <c:formatCode>0%</c:formatCode>
                <c:ptCount val="31"/>
                <c:pt idx="0">
                  <c:v>7.0000000000000007E-2</c:v>
                </c:pt>
                <c:pt idx="1">
                  <c:v>0.06</c:v>
                </c:pt>
                <c:pt idx="2">
                  <c:v>0.06</c:v>
                </c:pt>
                <c:pt idx="3">
                  <c:v>0.05</c:v>
                </c:pt>
                <c:pt idx="4">
                  <c:v>0.04</c:v>
                </c:pt>
                <c:pt idx="5">
                  <c:v>0.03</c:v>
                </c:pt>
                <c:pt idx="6">
                  <c:v>0.03</c:v>
                </c:pt>
                <c:pt idx="7">
                  <c:v>0.02</c:v>
                </c:pt>
                <c:pt idx="8">
                  <c:v>0.02</c:v>
                </c:pt>
                <c:pt idx="9">
                  <c:v>0.01</c:v>
                </c:pt>
                <c:pt idx="10">
                  <c:v>0.01</c:v>
                </c:pt>
                <c:pt idx="11">
                  <c:v>0.0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.01</c:v>
                </c:pt>
                <c:pt idx="17">
                  <c:v>0</c:v>
                </c:pt>
                <c:pt idx="18">
                  <c:v>0</c:v>
                </c:pt>
                <c:pt idx="19">
                  <c:v>0.01</c:v>
                </c:pt>
                <c:pt idx="20">
                  <c:v>0.01</c:v>
                </c:pt>
                <c:pt idx="21">
                  <c:v>0.03</c:v>
                </c:pt>
                <c:pt idx="22" formatCode="0.0%">
                  <c:v>0.02</c:v>
                </c:pt>
                <c:pt idx="23">
                  <c:v>0.02</c:v>
                </c:pt>
                <c:pt idx="24">
                  <c:v>0.02</c:v>
                </c:pt>
                <c:pt idx="25">
                  <c:v>0.04</c:v>
                </c:pt>
                <c:pt idx="26">
                  <c:v>4.4999999999999998E-2</c:v>
                </c:pt>
                <c:pt idx="27">
                  <c:v>0.06</c:v>
                </c:pt>
                <c:pt idx="28">
                  <c:v>0.06</c:v>
                </c:pt>
                <c:pt idx="29">
                  <c:v>0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8D9-4DBB-8ACA-C8D23E2B11D0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Marsh</c:v>
                </c:pt>
              </c:strCache>
            </c:strRef>
          </c:tx>
          <c:marker>
            <c:symbol val="none"/>
          </c:marker>
          <c:dLbls>
            <c:dLbl>
              <c:idx val="5"/>
              <c:dLblPos val="b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F00-4858-A3F6-10BF6C71D598}"/>
                </c:ext>
              </c:extLst>
            </c:dLbl>
            <c:dLbl>
              <c:idx val="3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F00-4858-A3F6-10BF6C71D5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C$1:$AG$1</c:f>
              <c:strCache>
                <c:ptCount val="31"/>
                <c:pt idx="0">
                  <c:v>2013:Q1</c:v>
                </c:pt>
                <c:pt idx="1">
                  <c:v>2013:Q2</c:v>
                </c:pt>
                <c:pt idx="2">
                  <c:v>2013:Q3</c:v>
                </c:pt>
                <c:pt idx="3">
                  <c:v>2013:Q4</c:v>
                </c:pt>
                <c:pt idx="4">
                  <c:v>2014:Q1</c:v>
                </c:pt>
                <c:pt idx="5">
                  <c:v>2014:Q2</c:v>
                </c:pt>
                <c:pt idx="6">
                  <c:v>2014:Q3</c:v>
                </c:pt>
                <c:pt idx="7">
                  <c:v>2014:Q4</c:v>
                </c:pt>
                <c:pt idx="8">
                  <c:v>2015:Q1</c:v>
                </c:pt>
                <c:pt idx="9">
                  <c:v>2015:Q2</c:v>
                </c:pt>
                <c:pt idx="10">
                  <c:v>2015:Q3</c:v>
                </c:pt>
                <c:pt idx="11">
                  <c:v>2015:Q4</c:v>
                </c:pt>
                <c:pt idx="12">
                  <c:v>2016:Q1</c:v>
                </c:pt>
                <c:pt idx="13">
                  <c:v>2016:Q2</c:v>
                </c:pt>
                <c:pt idx="14">
                  <c:v>2016:Q3</c:v>
                </c:pt>
                <c:pt idx="15">
                  <c:v>2016:Q4</c:v>
                </c:pt>
                <c:pt idx="16">
                  <c:v>2017:Q1</c:v>
                </c:pt>
                <c:pt idx="17">
                  <c:v>2017:Q2</c:v>
                </c:pt>
                <c:pt idx="18">
                  <c:v>2017:Q3</c:v>
                </c:pt>
                <c:pt idx="19">
                  <c:v>2017:Q4</c:v>
                </c:pt>
                <c:pt idx="20">
                  <c:v>2018:Q1</c:v>
                </c:pt>
                <c:pt idx="21">
                  <c:v>2018:Q2</c:v>
                </c:pt>
                <c:pt idx="22">
                  <c:v>2018:Q3</c:v>
                </c:pt>
                <c:pt idx="23">
                  <c:v>2018:Q4</c:v>
                </c:pt>
                <c:pt idx="24">
                  <c:v>2019:Q1</c:v>
                </c:pt>
                <c:pt idx="25">
                  <c:v>2019:Q2</c:v>
                </c:pt>
                <c:pt idx="26">
                  <c:v>2019:Q3</c:v>
                </c:pt>
                <c:pt idx="27">
                  <c:v>2019:Q4</c:v>
                </c:pt>
                <c:pt idx="28">
                  <c:v>2020:Q1</c:v>
                </c:pt>
                <c:pt idx="29">
                  <c:v>2020:Q2</c:v>
                </c:pt>
                <c:pt idx="30">
                  <c:v>2020:Q3</c:v>
                </c:pt>
              </c:strCache>
            </c:strRef>
          </c:cat>
          <c:val>
            <c:numRef>
              <c:f>Sheet1!$C$4:$AG$4</c:f>
              <c:numCache>
                <c:formatCode>0%</c:formatCode>
                <c:ptCount val="31"/>
                <c:pt idx="0">
                  <c:v>0.02</c:v>
                </c:pt>
                <c:pt idx="1">
                  <c:v>0.02</c:v>
                </c:pt>
                <c:pt idx="2">
                  <c:v>0.02</c:v>
                </c:pt>
                <c:pt idx="3">
                  <c:v>0.01</c:v>
                </c:pt>
                <c:pt idx="4">
                  <c:v>0</c:v>
                </c:pt>
                <c:pt idx="5">
                  <c:v>-0.01</c:v>
                </c:pt>
                <c:pt idx="6">
                  <c:v>0</c:v>
                </c:pt>
                <c:pt idx="7">
                  <c:v>-0.02</c:v>
                </c:pt>
                <c:pt idx="8">
                  <c:v>-0.02</c:v>
                </c:pt>
                <c:pt idx="9">
                  <c:v>-0.02</c:v>
                </c:pt>
                <c:pt idx="10">
                  <c:v>-0.03</c:v>
                </c:pt>
                <c:pt idx="11">
                  <c:v>-0.04</c:v>
                </c:pt>
                <c:pt idx="12">
                  <c:v>-0.03</c:v>
                </c:pt>
                <c:pt idx="13">
                  <c:v>-0.04</c:v>
                </c:pt>
                <c:pt idx="14">
                  <c:v>-0.03</c:v>
                </c:pt>
                <c:pt idx="15">
                  <c:v>-0.03</c:v>
                </c:pt>
                <c:pt idx="16">
                  <c:v>-0.02</c:v>
                </c:pt>
                <c:pt idx="17">
                  <c:v>-0.03</c:v>
                </c:pt>
                <c:pt idx="18" formatCode="0.00%">
                  <c:v>-0.03</c:v>
                </c:pt>
                <c:pt idx="19">
                  <c:v>-0.01</c:v>
                </c:pt>
                <c:pt idx="20">
                  <c:v>-0.01</c:v>
                </c:pt>
                <c:pt idx="21">
                  <c:v>0</c:v>
                </c:pt>
                <c:pt idx="22" formatCode="0.0%">
                  <c:v>0</c:v>
                </c:pt>
                <c:pt idx="23">
                  <c:v>0</c:v>
                </c:pt>
                <c:pt idx="24">
                  <c:v>0.01</c:v>
                </c:pt>
                <c:pt idx="25">
                  <c:v>0.05</c:v>
                </c:pt>
                <c:pt idx="26">
                  <c:v>0.06</c:v>
                </c:pt>
                <c:pt idx="27">
                  <c:v>0.1</c:v>
                </c:pt>
                <c:pt idx="28">
                  <c:v>0.14000000000000001</c:v>
                </c:pt>
                <c:pt idx="29">
                  <c:v>0.18</c:v>
                </c:pt>
                <c:pt idx="30">
                  <c:v>0.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D9-4DBB-8ACA-C8D23E2B11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6598280"/>
        <c:axId val="226602200"/>
      </c:lineChart>
      <c:catAx>
        <c:axId val="226598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 sz="1100" baseline="0"/>
            </a:pPr>
            <a:endParaRPr lang="en-US"/>
          </a:p>
        </c:txPr>
        <c:crossAx val="226602200"/>
        <c:crosses val="autoZero"/>
        <c:auto val="1"/>
        <c:lblAlgn val="ctr"/>
        <c:lblOffset val="200"/>
        <c:tickMarkSkip val="1"/>
        <c:noMultiLvlLbl val="0"/>
      </c:catAx>
      <c:valAx>
        <c:axId val="22660220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 sz="1400"/>
            </a:pPr>
            <a:endParaRPr lang="en-US"/>
          </a:p>
        </c:txPr>
        <c:crossAx val="2265982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Property</c:v>
                </c:pt>
                <c:pt idx="1">
                  <c:v>Business Interrupt</c:v>
                </c:pt>
                <c:pt idx="2">
                  <c:v>BOP</c:v>
                </c:pt>
                <c:pt idx="3">
                  <c:v>Inland Marine</c:v>
                </c:pt>
                <c:pt idx="4">
                  <c:v>GL</c:v>
                </c:pt>
                <c:pt idx="5">
                  <c:v>Umb/Excess</c:v>
                </c:pt>
                <c:pt idx="6">
                  <c:v>Auto</c:v>
                </c:pt>
                <c:pt idx="7">
                  <c:v>WC</c:v>
                </c:pt>
                <c:pt idx="8">
                  <c:v>Prof Liab</c:v>
                </c:pt>
                <c:pt idx="9">
                  <c:v>D&amp;O</c:v>
                </c:pt>
                <c:pt idx="10">
                  <c:v>EPLI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0.05</c:v>
                </c:pt>
                <c:pt idx="1">
                  <c:v>5.5E-2</c:v>
                </c:pt>
                <c:pt idx="2">
                  <c:v>0.05</c:v>
                </c:pt>
                <c:pt idx="3">
                  <c:v>0.05</c:v>
                </c:pt>
                <c:pt idx="4">
                  <c:v>5.5E-2</c:v>
                </c:pt>
                <c:pt idx="5">
                  <c:v>8.5000000000000006E-2</c:v>
                </c:pt>
                <c:pt idx="6">
                  <c:v>0.08</c:v>
                </c:pt>
                <c:pt idx="7">
                  <c:v>5.0000000000000001E-3</c:v>
                </c:pt>
                <c:pt idx="8">
                  <c:v>7.4999999999999997E-2</c:v>
                </c:pt>
                <c:pt idx="9">
                  <c:v>0.115</c:v>
                </c:pt>
                <c:pt idx="10">
                  <c:v>6.5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CA-41B6-84E0-6F40A42244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915038927"/>
        <c:axId val="1231014127"/>
      </c:barChart>
      <c:catAx>
        <c:axId val="9150389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1014127"/>
        <c:crosses val="autoZero"/>
        <c:auto val="1"/>
        <c:lblAlgn val="ctr"/>
        <c:lblOffset val="100"/>
        <c:tickLblSkip val="1"/>
        <c:noMultiLvlLbl val="0"/>
      </c:catAx>
      <c:valAx>
        <c:axId val="1231014127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low"/>
        <c:spPr>
          <a:noFill/>
          <a:ln>
            <a:solidFill>
              <a:srgbClr val="D0D0D3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5038927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A Liab</c:v>
                </c:pt>
                <c:pt idx="1">
                  <c:v>CMP</c:v>
                </c:pt>
                <c:pt idx="2">
                  <c:v>HO/FO</c:v>
                </c:pt>
                <c:pt idx="3">
                  <c:v>MedMal</c:v>
                </c:pt>
                <c:pt idx="4">
                  <c:v>OL</c:v>
                </c:pt>
                <c:pt idx="5">
                  <c:v>PA Liab</c:v>
                </c:pt>
                <c:pt idx="6">
                  <c:v>Reinsurance</c:v>
                </c:pt>
                <c:pt idx="7">
                  <c:v>WC</c:v>
                </c:pt>
                <c:pt idx="8">
                  <c:v>2-Yr Lines</c:v>
                </c:pt>
                <c:pt idx="9">
                  <c:v>Other</c:v>
                </c:pt>
              </c:strCache>
            </c:strRef>
          </c:cat>
          <c:val>
            <c:numRef>
              <c:f>Sheet1!$B$2:$B$11</c:f>
              <c:numCache>
                <c:formatCode>_(* #,##0.0_);_(* \(#,##0.0\);_(* "-"??_);_(@_)</c:formatCode>
                <c:ptCount val="10"/>
                <c:pt idx="0">
                  <c:v>2.5636909999999999</c:v>
                </c:pt>
                <c:pt idx="1">
                  <c:v>0.60582999999999998</c:v>
                </c:pt>
                <c:pt idx="2">
                  <c:v>0.13938600000000001</c:v>
                </c:pt>
                <c:pt idx="3">
                  <c:v>-0.52832699999999999</c:v>
                </c:pt>
                <c:pt idx="4">
                  <c:v>3.5208970000000002</c:v>
                </c:pt>
                <c:pt idx="5">
                  <c:v>-0.42263099999999998</c:v>
                </c:pt>
                <c:pt idx="6">
                  <c:v>-0.31369900000000001</c:v>
                </c:pt>
                <c:pt idx="7">
                  <c:v>-7.3155520000000003</c:v>
                </c:pt>
                <c:pt idx="8">
                  <c:v>-4.5160640000000001</c:v>
                </c:pt>
                <c:pt idx="9">
                  <c:v>0.280233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04-4B7F-9678-1A7883F7F6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3"/>
        <c:axId val="533964831"/>
        <c:axId val="1041487679"/>
      </c:barChart>
      <c:catAx>
        <c:axId val="5339648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1487679"/>
        <c:crosses val="autoZero"/>
        <c:auto val="1"/>
        <c:lblAlgn val="ctr"/>
        <c:lblOffset val="100"/>
        <c:noMultiLvlLbl val="0"/>
      </c:catAx>
      <c:valAx>
        <c:axId val="104148767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/>
                  <a:t>Bill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.0_);_(* \(#,##0.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39648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829667810276301E-2"/>
          <c:y val="0.30299519573362754"/>
          <c:w val="0.92607339744584638"/>
          <c:h val="0.5706855465906566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0-7EE1-42BA-A0C0-E1A2447A3B49}"/>
              </c:ext>
            </c:extLst>
          </c:dPt>
          <c:dPt>
            <c:idx val="1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1-7EE1-42BA-A0C0-E1A2447A3B49}"/>
              </c:ext>
            </c:extLst>
          </c:dPt>
          <c:dPt>
            <c:idx val="2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2-7EE1-42BA-A0C0-E1A2447A3B49}"/>
              </c:ext>
            </c:extLst>
          </c:dPt>
          <c:dPt>
            <c:idx val="3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3-7EE1-42BA-A0C0-E1A2447A3B49}"/>
              </c:ext>
            </c:extLst>
          </c:dPt>
          <c:dPt>
            <c:idx val="5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4-7EE1-42BA-A0C0-E1A2447A3B49}"/>
              </c:ext>
            </c:extLst>
          </c:dPt>
          <c:dPt>
            <c:idx val="8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5-7EE1-42BA-A0C0-E1A2447A3B4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B$1</c:f>
              <c:strCache>
                <c:ptCount val="2"/>
                <c:pt idx="0">
                  <c:v>2019</c:v>
                </c:pt>
                <c:pt idx="1">
                  <c:v>2020</c:v>
                </c:pt>
              </c:strCache>
            </c:strRef>
          </c:cat>
          <c:val>
            <c:numRef>
              <c:f>Sheet1!$A$2:$B$2</c:f>
              <c:numCache>
                <c:formatCode>General</c:formatCode>
                <c:ptCount val="2"/>
                <c:pt idx="0">
                  <c:v>97.3</c:v>
                </c:pt>
                <c:pt idx="1">
                  <c:v>97.5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6-7EE1-42BA-A0C0-E1A2447A3B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8501496"/>
        <c:axId val="528512472"/>
        <c:extLst/>
      </c:barChart>
      <c:catAx>
        <c:axId val="528501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28512472"/>
        <c:crossesAt val="100"/>
        <c:auto val="1"/>
        <c:lblAlgn val="ctr"/>
        <c:lblOffset val="20"/>
        <c:tickLblSkip val="1"/>
        <c:tickMarkSkip val="1"/>
        <c:noMultiLvlLbl val="0"/>
      </c:catAx>
      <c:valAx>
        <c:axId val="528512472"/>
        <c:scaling>
          <c:orientation val="minMax"/>
          <c:min val="90"/>
        </c:scaling>
        <c:delete val="0"/>
        <c:axPos val="l"/>
        <c:numFmt formatCode="0" sourceLinked="0"/>
        <c:majorTickMark val="out"/>
        <c:minorTickMark val="none"/>
        <c:tickLblPos val="low"/>
        <c:txPr>
          <a:bodyPr/>
          <a:lstStyle/>
          <a:p>
            <a:pPr>
              <a:defRPr sz="1200"/>
            </a:pPr>
            <a:endParaRPr lang="en-US"/>
          </a:p>
        </c:txPr>
        <c:crossAx val="528501496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9D2-43DA-8045-8CB0C10A1392}"/>
                </c:ext>
              </c:extLst>
            </c:dLbl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9D2-43DA-8045-8CB0C10A1392}"/>
                </c:ext>
              </c:extLst>
            </c:dLbl>
            <c:dLbl>
              <c:idx val="1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9D2-43DA-8045-8CB0C10A13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</c:f>
              <c:numCache>
                <c:formatCode>General</c:formatCode>
                <c:ptCount val="19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</c:numCache>
            </c:numRef>
          </c:cat>
          <c:val>
            <c:numRef>
              <c:f>Sheet1!$B$2:$B$21</c:f>
              <c:numCache>
                <c:formatCode>General</c:formatCode>
                <c:ptCount val="19"/>
                <c:pt idx="0">
                  <c:v>3.8</c:v>
                </c:pt>
                <c:pt idx="1">
                  <c:v>5.4</c:v>
                </c:pt>
                <c:pt idx="2">
                  <c:v>6.8</c:v>
                </c:pt>
                <c:pt idx="3">
                  <c:v>8.1999999999999993</c:v>
                </c:pt>
                <c:pt idx="4">
                  <c:v>2.2000000000000002</c:v>
                </c:pt>
                <c:pt idx="5">
                  <c:v>1.2</c:v>
                </c:pt>
                <c:pt idx="6">
                  <c:v>-1.6</c:v>
                </c:pt>
                <c:pt idx="7">
                  <c:v>-3.4</c:v>
                </c:pt>
                <c:pt idx="8">
                  <c:v>-2.6</c:v>
                </c:pt>
                <c:pt idx="9">
                  <c:v>-2.9</c:v>
                </c:pt>
                <c:pt idx="10">
                  <c:v>-0.8</c:v>
                </c:pt>
                <c:pt idx="11">
                  <c:v>-1.8</c:v>
                </c:pt>
                <c:pt idx="12">
                  <c:v>-1.7</c:v>
                </c:pt>
                <c:pt idx="13">
                  <c:v>-4.0999999999999996</c:v>
                </c:pt>
                <c:pt idx="14">
                  <c:v>-5.7</c:v>
                </c:pt>
                <c:pt idx="15">
                  <c:v>-1.2</c:v>
                </c:pt>
                <c:pt idx="16">
                  <c:v>-2.1</c:v>
                </c:pt>
                <c:pt idx="17">
                  <c:v>-1.2</c:v>
                </c:pt>
                <c:pt idx="18">
                  <c:v>-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D2-43DA-8045-8CB0C10A1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995383311"/>
        <c:axId val="956467775"/>
      </c:barChart>
      <c:catAx>
        <c:axId val="995383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6467775"/>
        <c:crosses val="autoZero"/>
        <c:auto val="1"/>
        <c:lblAlgn val="ctr"/>
        <c:lblOffset val="100"/>
        <c:noMultiLvlLbl val="0"/>
      </c:catAx>
      <c:valAx>
        <c:axId val="956467775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/>
                  <a:t>Bill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53833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4064989574382"/>
          <c:y val="4.3138682142329743E-2"/>
          <c:w val="0.80300733840289529"/>
          <c:h val="0.77365709049937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pect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Sheet1!$B$2:$B$6</c:f>
              <c:numCache>
                <c:formatCode>_(* #,##0_);_(* \(#,##0\);_(* "-"??_);_(@_)</c:formatCode>
                <c:ptCount val="5"/>
                <c:pt idx="0">
                  <c:v>1110.4134751580134</c:v>
                </c:pt>
                <c:pt idx="1">
                  <c:v>1318.2346071680338</c:v>
                </c:pt>
                <c:pt idx="2">
                  <c:v>1545.7304770515934</c:v>
                </c:pt>
                <c:pt idx="3">
                  <c:v>1596.0601133875884</c:v>
                </c:pt>
                <c:pt idx="4">
                  <c:v>2136.2198974636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72-4CE1-AF52-7476A1ECDB8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ctu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Sheet1!$C$2:$C$6</c:f>
              <c:numCache>
                <c:formatCode>_(* #,##0_);_(* \(#,##0\);_(* "-"??_);_(@_)</c:formatCode>
                <c:ptCount val="5"/>
                <c:pt idx="0">
                  <c:v>1454.7860000000001</c:v>
                </c:pt>
                <c:pt idx="1">
                  <c:v>1666.655</c:v>
                </c:pt>
                <c:pt idx="2">
                  <c:v>1928.49</c:v>
                </c:pt>
                <c:pt idx="3">
                  <c:v>2011.549</c:v>
                </c:pt>
                <c:pt idx="4">
                  <c:v>2281.001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72-4CE1-AF52-7476A1ECDB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952592"/>
        <c:axId val="52209952"/>
      </c:barChart>
      <c:catAx>
        <c:axId val="319525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ccident  Yea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209952"/>
        <c:crosses val="autoZero"/>
        <c:auto val="1"/>
        <c:lblAlgn val="ctr"/>
        <c:lblOffset val="100"/>
        <c:noMultiLvlLbl val="0"/>
      </c:catAx>
      <c:valAx>
        <c:axId val="52209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95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593835876465079"/>
          <c:y val="2.4495446020253088E-2"/>
          <c:w val="0.39366108834990005"/>
          <c:h val="7.1016619438918058E-2"/>
        </c:manualLayout>
      </c:layout>
      <c:overlay val="0"/>
      <c:spPr>
        <a:solidFill>
          <a:schemeClr val="bg1"/>
        </a:solidFill>
        <a:ln>
          <a:solidFill>
            <a:schemeClr val="tx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30129630129"/>
          <c:y val="9.107373597005225E-2"/>
          <c:w val="0.87554999907369802"/>
          <c:h val="0.748634697188062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mmercial Auto Liability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invertIfNegative val="0"/>
          <c:dLbls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396-4199-81AB-7D31E9559AB0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396-4199-81AB-7D31E9559AB0}"/>
                </c:ext>
              </c:extLst>
            </c:dLbl>
            <c:dLbl>
              <c:idx val="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396-4199-81AB-7D31E9559AB0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396-4199-81AB-7D31E9559AB0}"/>
                </c:ext>
              </c:extLst>
            </c:dLbl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396-4199-81AB-7D31E9559AB0}"/>
                </c:ext>
              </c:extLst>
            </c:dLbl>
            <c:dLbl>
              <c:idx val="1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0E-4228-834D-83D951511BC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M$1</c:f>
              <c:numCache>
                <c:formatCode>General</c:formatCode>
                <c:ptCount val="12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</c:numCache>
            </c:numRef>
          </c:cat>
          <c:val>
            <c:numRef>
              <c:f>Sheet1!$B$2:$M$2</c:f>
              <c:numCache>
                <c:formatCode>"$"#,##0.000</c:formatCode>
                <c:ptCount val="12"/>
                <c:pt idx="0">
                  <c:v>-450.27499999999998</c:v>
                </c:pt>
                <c:pt idx="1">
                  <c:v>-385.09100000000001</c:v>
                </c:pt>
                <c:pt idx="2">
                  <c:v>-827.05100000000004</c:v>
                </c:pt>
                <c:pt idx="3">
                  <c:v>-318.012</c:v>
                </c:pt>
                <c:pt idx="4">
                  <c:v>540.76900000000001</c:v>
                </c:pt>
                <c:pt idx="5">
                  <c:v>702.82399999999996</c:v>
                </c:pt>
                <c:pt idx="6">
                  <c:v>784.60199999999998</c:v>
                </c:pt>
                <c:pt idx="7">
                  <c:v>1655.5319999999999</c:v>
                </c:pt>
                <c:pt idx="8">
                  <c:v>1851.8030000000001</c:v>
                </c:pt>
                <c:pt idx="9">
                  <c:v>1633.654</c:v>
                </c:pt>
                <c:pt idx="10">
                  <c:v>1843.489</c:v>
                </c:pt>
                <c:pt idx="11">
                  <c:v>2572.1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30-4794-ACAF-93D9FA3D903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>
              <a:solidFill>
                <a:srgbClr val="2F72AD"/>
              </a:solidFill>
            </a:ln>
          </c:spPr>
          <c:invertIfNegative val="0"/>
          <c:cat>
            <c:numRef>
              <c:f>Sheet1!$B$1:$M$1</c:f>
              <c:numCache>
                <c:formatCode>General</c:formatCode>
                <c:ptCount val="12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</c:numCache>
            </c:numRef>
          </c:cat>
          <c:val>
            <c:numRef>
              <c:f>Sheet1!$B$3:$M$3</c:f>
              <c:numCache>
                <c:formatCode>General</c:formatCode>
                <c:ptCount val="12"/>
              </c:numCache>
            </c:numRef>
          </c:val>
          <c:extLst>
            <c:ext xmlns:c16="http://schemas.microsoft.com/office/drawing/2014/chart" uri="{C3380CC4-5D6E-409C-BE32-E72D297353CC}">
              <c16:uniqueId val="{00000003-E630-4794-ACAF-93D9FA3D9039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invertIfNegative val="0"/>
          <c:cat>
            <c:numRef>
              <c:f>Sheet1!$B$1:$M$1</c:f>
              <c:numCache>
                <c:formatCode>General</c:formatCode>
                <c:ptCount val="12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</c:numCache>
            </c:numRef>
          </c:cat>
          <c:val>
            <c:numRef>
              <c:f>Sheet1!$B$4:$M$4</c:f>
              <c:numCache>
                <c:formatCode>General</c:formatCode>
                <c:ptCount val="12"/>
              </c:numCache>
            </c:numRef>
          </c:val>
          <c:extLst>
            <c:ext xmlns:c16="http://schemas.microsoft.com/office/drawing/2014/chart" uri="{C3380CC4-5D6E-409C-BE32-E72D297353CC}">
              <c16:uniqueId val="{00000001-31F5-4452-9B05-C43D4CF6AA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69378728"/>
        <c:axId val="469385784"/>
      </c:bar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txPr>
          <a:bodyPr rot="-5400000" vert="horz" anchor="b" anchorCtr="0"/>
          <a:lstStyle/>
          <a:p>
            <a:pPr>
              <a:defRPr sz="1400"/>
            </a:pPr>
            <a:endParaRPr lang="en-US"/>
          </a:p>
        </c:txPr>
        <c:crossAx val="469385784"/>
        <c:crossesAt val="0"/>
        <c:auto val="1"/>
        <c:lblAlgn val="ctr"/>
        <c:lblOffset val="1000"/>
        <c:noMultiLvlLbl val="0"/>
      </c:catAx>
      <c:valAx>
        <c:axId val="469385784"/>
        <c:scaling>
          <c:orientation val="minMax"/>
          <c:min val="-1000"/>
        </c:scaling>
        <c:delete val="0"/>
        <c:axPos val="l"/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 val="autoZero"/>
        <c:crossBetween val="between"/>
        <c:majorUnit val="100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 Aut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27E-4447-9E19-09AFA04E9B00}"/>
                </c:ext>
              </c:extLst>
            </c:dLbl>
            <c:dLbl>
              <c:idx val="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27E-4447-9E19-09AFA04E9B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E</c:v>
                </c:pt>
              </c:strCache>
            </c:strRef>
          </c:cat>
          <c:val>
            <c:numRef>
              <c:f>Sheet1!$B$2:$B$10</c:f>
              <c:numCache>
                <c:formatCode>_(* #,##0.00_);_(* \(#,##0.00\);_(* "-"??_);_(@_)</c:formatCode>
                <c:ptCount val="9"/>
                <c:pt idx="0">
                  <c:v>1.5261265667057011</c:v>
                </c:pt>
                <c:pt idx="1">
                  <c:v>1.5763987044048</c:v>
                </c:pt>
                <c:pt idx="2">
                  <c:v>1.623665901181129</c:v>
                </c:pt>
                <c:pt idx="3">
                  <c:v>1.6296491792176604</c:v>
                </c:pt>
                <c:pt idx="4">
                  <c:v>1.6623717183604596</c:v>
                </c:pt>
                <c:pt idx="5">
                  <c:v>1.6933523541236071</c:v>
                </c:pt>
                <c:pt idx="6">
                  <c:v>1.7168275886773705</c:v>
                </c:pt>
                <c:pt idx="7">
                  <c:v>1.7086703953158184</c:v>
                </c:pt>
                <c:pt idx="8">
                  <c:v>1.7135177438458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27E-4447-9E19-09AFA04E9B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60281264"/>
        <c:axId val="1561975168"/>
      </c:lineChart>
      <c:catAx>
        <c:axId val="1560281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1975168"/>
        <c:crosses val="autoZero"/>
        <c:auto val="1"/>
        <c:lblAlgn val="ctr"/>
        <c:lblOffset val="100"/>
        <c:noMultiLvlLbl val="0"/>
      </c:catAx>
      <c:valAx>
        <c:axId val="1561975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028126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dMal (CM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ADC-4AFC-B32C-A77F7D656BA1}"/>
                </c:ext>
              </c:extLst>
            </c:dLbl>
            <c:dLbl>
              <c:idx val="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ADC-4AFC-B32C-A77F7D656B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E</c:v>
                </c:pt>
              </c:strCache>
            </c:strRef>
          </c:cat>
          <c:val>
            <c:numRef>
              <c:f>Sheet1!$B$2:$B$10</c:f>
              <c:numCache>
                <c:formatCode>_(* #,##0.00_);_(* \(#,##0.00\);_(* "-"??_);_(@_)</c:formatCode>
                <c:ptCount val="9"/>
                <c:pt idx="0">
                  <c:v>1.7521835800848389</c:v>
                </c:pt>
                <c:pt idx="1">
                  <c:v>1.7744654162739086</c:v>
                </c:pt>
                <c:pt idx="2">
                  <c:v>1.932425365908337</c:v>
                </c:pt>
                <c:pt idx="3">
                  <c:v>2.0513191544302041</c:v>
                </c:pt>
                <c:pt idx="4">
                  <c:v>2.1216413033526718</c:v>
                </c:pt>
                <c:pt idx="5">
                  <c:v>2.0738193661597082</c:v>
                </c:pt>
                <c:pt idx="6">
                  <c:v>2.2592821603477597</c:v>
                </c:pt>
                <c:pt idx="7">
                  <c:v>2.2663818474229509</c:v>
                </c:pt>
                <c:pt idx="8">
                  <c:v>2.2811621120554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ADC-4AFC-B32C-A77F7D656B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47417168"/>
        <c:axId val="1296658992"/>
      </c:lineChart>
      <c:catAx>
        <c:axId val="1547417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6658992"/>
        <c:crosses val="autoZero"/>
        <c:auto val="1"/>
        <c:lblAlgn val="ctr"/>
        <c:lblOffset val="100"/>
        <c:noMultiLvlLbl val="0"/>
      </c:catAx>
      <c:valAx>
        <c:axId val="1296658992"/>
        <c:scaling>
          <c:orientation val="minMax"/>
          <c:min val="1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7417168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L (Occ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F26-47E5-821C-A99F2532F741}"/>
                </c:ext>
              </c:extLst>
            </c:dLbl>
            <c:dLbl>
              <c:idx val="8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F26-47E5-821C-A99F2532F7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E</c:v>
                </c:pt>
              </c:strCache>
            </c:strRef>
          </c:cat>
          <c:val>
            <c:numRef>
              <c:f>Sheet1!$B$2:$B$10</c:f>
              <c:numCache>
                <c:formatCode>_(* #,##0.00_);_(* \(#,##0.00\);_(* "-"??_);_(@_)</c:formatCode>
                <c:ptCount val="9"/>
                <c:pt idx="0">
                  <c:v>2.2243478303452937</c:v>
                </c:pt>
                <c:pt idx="1">
                  <c:v>2.4506325101422717</c:v>
                </c:pt>
                <c:pt idx="2">
                  <c:v>2.4871401338969075</c:v>
                </c:pt>
                <c:pt idx="3">
                  <c:v>2.5597982670535111</c:v>
                </c:pt>
                <c:pt idx="4">
                  <c:v>2.6974056546957099</c:v>
                </c:pt>
                <c:pt idx="5">
                  <c:v>2.6222285152305438</c:v>
                </c:pt>
                <c:pt idx="6">
                  <c:v>2.7696281788614119</c:v>
                </c:pt>
                <c:pt idx="7">
                  <c:v>2.684568180746191</c:v>
                </c:pt>
                <c:pt idx="8">
                  <c:v>2.99642904143175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F26-47E5-821C-A99F2532F7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1041920"/>
        <c:axId val="1619018656"/>
      </c:lineChart>
      <c:catAx>
        <c:axId val="178104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9018656"/>
        <c:crosses val="autoZero"/>
        <c:auto val="1"/>
        <c:lblAlgn val="ctr"/>
        <c:lblOffset val="100"/>
        <c:noMultiLvlLbl val="0"/>
      </c:catAx>
      <c:valAx>
        <c:axId val="1619018656"/>
        <c:scaling>
          <c:orientation val="minMax"/>
          <c:max val="3"/>
          <c:min val="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1041920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L-Occ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93-4DBE-BBA8-2C0DA9470355}"/>
                </c:ext>
              </c:extLst>
            </c:dLbl>
            <c:dLbl>
              <c:idx val="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893-4DBE-BBA8-2C0DA94703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E</c:v>
                </c:pt>
              </c:strCache>
            </c:strRef>
          </c:cat>
          <c:val>
            <c:numRef>
              <c:f>Sheet1!$B$2:$B$10</c:f>
              <c:numCache>
                <c:formatCode>_(* #,##0.00_);_(* \(#,##0.00\);_(* "-"??_);_(@_)</c:formatCode>
                <c:ptCount val="9"/>
                <c:pt idx="0">
                  <c:v>3.4472636413554731</c:v>
                </c:pt>
                <c:pt idx="1">
                  <c:v>3.4673611511557247</c:v>
                </c:pt>
                <c:pt idx="2">
                  <c:v>3.337295225207185</c:v>
                </c:pt>
                <c:pt idx="3">
                  <c:v>3.186138864197531</c:v>
                </c:pt>
                <c:pt idx="4">
                  <c:v>3.441626874884625</c:v>
                </c:pt>
                <c:pt idx="5">
                  <c:v>3.6344392653212081</c:v>
                </c:pt>
                <c:pt idx="6">
                  <c:v>3.7043478222553969</c:v>
                </c:pt>
                <c:pt idx="7">
                  <c:v>3.4981795369051412</c:v>
                </c:pt>
                <c:pt idx="8">
                  <c:v>2.96028715341216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893-4DBE-BBA8-2C0DA94703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47416368"/>
        <c:axId val="1296649008"/>
      </c:lineChart>
      <c:catAx>
        <c:axId val="1547416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6649008"/>
        <c:crosses val="autoZero"/>
        <c:auto val="1"/>
        <c:lblAlgn val="ctr"/>
        <c:lblOffset val="100"/>
        <c:noMultiLvlLbl val="0"/>
      </c:catAx>
      <c:valAx>
        <c:axId val="1296649008"/>
        <c:scaling>
          <c:orientation val="minMax"/>
          <c:max val="4"/>
          <c:min val="2.7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7416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PI Change</a:t>
            </a:r>
            <a:r>
              <a:rPr lang="en-US" baseline="0" dirty="0"/>
              <a:t> vs Year Earlier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467-4A91-8570-CC03BE1D5298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67-4A91-8570-CC03BE1D5298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467-4A91-8570-CC03BE1D5298}"/>
                </c:ext>
              </c:extLst>
            </c:dLbl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467-4A91-8570-CC03BE1D52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Sheet1!$B$2:$B$12</c:f>
              <c:numCache>
                <c:formatCode>0.0</c:formatCode>
                <c:ptCount val="11"/>
                <c:pt idx="0">
                  <c:v>-0.32035999999999998</c:v>
                </c:pt>
                <c:pt idx="1">
                  <c:v>1.6365700000000001</c:v>
                </c:pt>
                <c:pt idx="2">
                  <c:v>3.1396500000000001</c:v>
                </c:pt>
                <c:pt idx="3">
                  <c:v>2.0731899999999999</c:v>
                </c:pt>
                <c:pt idx="4">
                  <c:v>1.46597</c:v>
                </c:pt>
                <c:pt idx="5">
                  <c:v>1.6154599999999999</c:v>
                </c:pt>
                <c:pt idx="6">
                  <c:v>0.12114</c:v>
                </c:pt>
                <c:pt idx="7">
                  <c:v>1.2605</c:v>
                </c:pt>
                <c:pt idx="8">
                  <c:v>2.1385000000000001</c:v>
                </c:pt>
                <c:pt idx="9">
                  <c:v>2.4396399999999998</c:v>
                </c:pt>
                <c:pt idx="10">
                  <c:v>1.811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67-4A91-8570-CC03BE1D5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14731999"/>
        <c:axId val="2060474399"/>
      </c:barChart>
      <c:catAx>
        <c:axId val="114731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0474399"/>
        <c:crosses val="autoZero"/>
        <c:auto val="1"/>
        <c:lblAlgn val="ctr"/>
        <c:lblOffset val="100"/>
        <c:tickLblSkip val="2"/>
        <c:noMultiLvlLbl val="0"/>
      </c:catAx>
      <c:valAx>
        <c:axId val="206047439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/>
                  <a:t>% Chang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731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nfidence in Institutions</a:t>
            </a:r>
            <a:r>
              <a:rPr lang="en-US" baseline="0" dirty="0"/>
              <a:t> 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2104857452294603E-2"/>
          <c:y val="0.22734444868957182"/>
          <c:w val="0.87424313084634453"/>
          <c:h val="0.564799705876703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gres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627-4EC6-A432-C7C7A91A19FC}"/>
                </c:ext>
              </c:extLst>
            </c:dLbl>
            <c:dLbl>
              <c:idx val="12"/>
              <c:layout>
                <c:manualLayout>
                  <c:x val="-7.226558736129686E-2"/>
                  <c:y val="-9.182508521678253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13728864513195"/>
                      <c:h val="0.1192714792182040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F627-4EC6-A432-C7C7A91A19FC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627-4EC6-A432-C7C7A91A19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numCache>
            </c:num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30</c:v>
                </c:pt>
                <c:pt idx="1">
                  <c:v>22</c:v>
                </c:pt>
                <c:pt idx="2">
                  <c:v>19</c:v>
                </c:pt>
                <c:pt idx="3">
                  <c:v>14</c:v>
                </c:pt>
                <c:pt idx="4">
                  <c:v>12</c:v>
                </c:pt>
                <c:pt idx="5">
                  <c:v>17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0</c:v>
                </c:pt>
                <c:pt idx="10">
                  <c:v>7</c:v>
                </c:pt>
                <c:pt idx="11">
                  <c:v>8</c:v>
                </c:pt>
                <c:pt idx="12">
                  <c:v>9</c:v>
                </c:pt>
                <c:pt idx="13">
                  <c:v>12</c:v>
                </c:pt>
                <c:pt idx="14">
                  <c:v>11</c:v>
                </c:pt>
                <c:pt idx="15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627-4EC6-A432-C7C7A91A19F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ig Busines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8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627-4EC6-A432-C7C7A91A19FC}"/>
                </c:ext>
              </c:extLst>
            </c:dLbl>
            <c:dLbl>
              <c:idx val="1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8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C37F0F9-E4FB-4642-983A-FA37C97AE936}" type="SERIESNAME">
                      <a:rPr lang="en-US" sz="1300" dirty="0"/>
                      <a:pPr>
                        <a:defRPr sz="1380" b="1"/>
                      </a:pPr>
                      <a:t>[SERIES NAM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8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627-4EC6-A432-C7C7A91A19FC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8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627-4EC6-A432-C7C7A91A19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8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numCache>
            </c:numRef>
          </c:cat>
          <c:val>
            <c:numRef>
              <c:f>Sheet1!$C$2:$C$17</c:f>
              <c:numCache>
                <c:formatCode>General</c:formatCode>
                <c:ptCount val="16"/>
                <c:pt idx="0">
                  <c:v>24</c:v>
                </c:pt>
                <c:pt idx="1">
                  <c:v>22</c:v>
                </c:pt>
                <c:pt idx="2">
                  <c:v>18</c:v>
                </c:pt>
                <c:pt idx="3">
                  <c:v>18</c:v>
                </c:pt>
                <c:pt idx="4">
                  <c:v>20</c:v>
                </c:pt>
                <c:pt idx="5">
                  <c:v>16</c:v>
                </c:pt>
                <c:pt idx="6">
                  <c:v>19</c:v>
                </c:pt>
                <c:pt idx="7">
                  <c:v>19</c:v>
                </c:pt>
                <c:pt idx="8">
                  <c:v>21</c:v>
                </c:pt>
                <c:pt idx="9">
                  <c:v>22</c:v>
                </c:pt>
                <c:pt idx="10">
                  <c:v>21</c:v>
                </c:pt>
                <c:pt idx="11">
                  <c:v>21</c:v>
                </c:pt>
                <c:pt idx="12">
                  <c:v>18</c:v>
                </c:pt>
                <c:pt idx="13">
                  <c:v>21</c:v>
                </c:pt>
                <c:pt idx="14">
                  <c:v>25</c:v>
                </c:pt>
                <c:pt idx="15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627-4EC6-A432-C7C7A91A19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9440351"/>
        <c:axId val="1880987999"/>
      </c:lineChart>
      <c:catAx>
        <c:axId val="20694403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80987999"/>
        <c:crosses val="autoZero"/>
        <c:auto val="1"/>
        <c:lblAlgn val="ctr"/>
        <c:lblOffset val="100"/>
        <c:tickLblSkip val="3"/>
        <c:noMultiLvlLbl val="0"/>
      </c:catAx>
      <c:valAx>
        <c:axId val="1880987999"/>
        <c:scaling>
          <c:orientation val="minMax"/>
          <c:min val="5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94403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No.</a:t>
            </a:r>
            <a:r>
              <a:rPr lang="en-US" baseline="0" dirty="0"/>
              <a:t> of $300M Lottery Jackpot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CC8-48F1-AA7C-B6207B2E779A}"/>
                </c:ext>
              </c:extLst>
            </c:dLbl>
            <c:dLbl>
              <c:idx val="1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CC8-48F1-AA7C-B6207B2E779A}"/>
                </c:ext>
              </c:extLst>
            </c:dLbl>
            <c:dLbl>
              <c:idx val="1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CC8-48F1-AA7C-B6207B2E77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</c:f>
              <c:numCache>
                <c:formatCode>General</c:formatCode>
                <c:ptCount val="2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</c:numCache>
            </c:num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3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2</c:v>
                </c:pt>
                <c:pt idx="12">
                  <c:v>4</c:v>
                </c:pt>
                <c:pt idx="13">
                  <c:v>5</c:v>
                </c:pt>
                <c:pt idx="14">
                  <c:v>3</c:v>
                </c:pt>
                <c:pt idx="15">
                  <c:v>1</c:v>
                </c:pt>
                <c:pt idx="16">
                  <c:v>5</c:v>
                </c:pt>
                <c:pt idx="17">
                  <c:v>4</c:v>
                </c:pt>
                <c:pt idx="18">
                  <c:v>8</c:v>
                </c:pt>
                <c:pt idx="19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C8-48F1-AA7C-B6207B2E77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604216432"/>
        <c:axId val="1607482688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Sheet1!$A$2:$A$21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2000</c:v>
                      </c:pt>
                      <c:pt idx="1">
                        <c:v>2001</c:v>
                      </c:pt>
                      <c:pt idx="2">
                        <c:v>2002</c:v>
                      </c:pt>
                      <c:pt idx="3">
                        <c:v>2003</c:v>
                      </c:pt>
                      <c:pt idx="4">
                        <c:v>2004</c:v>
                      </c:pt>
                      <c:pt idx="5">
                        <c:v>2005</c:v>
                      </c:pt>
                      <c:pt idx="6">
                        <c:v>2006</c:v>
                      </c:pt>
                      <c:pt idx="7">
                        <c:v>2007</c:v>
                      </c:pt>
                      <c:pt idx="8">
                        <c:v>2008</c:v>
                      </c:pt>
                      <c:pt idx="9">
                        <c:v>2009</c:v>
                      </c:pt>
                      <c:pt idx="10">
                        <c:v>2010</c:v>
                      </c:pt>
                      <c:pt idx="11">
                        <c:v>2011</c:v>
                      </c:pt>
                      <c:pt idx="12">
                        <c:v>2012</c:v>
                      </c:pt>
                      <c:pt idx="13">
                        <c:v>2013</c:v>
                      </c:pt>
                      <c:pt idx="14">
                        <c:v>2014</c:v>
                      </c:pt>
                      <c:pt idx="15">
                        <c:v>2015</c:v>
                      </c:pt>
                      <c:pt idx="16">
                        <c:v>2016</c:v>
                      </c:pt>
                      <c:pt idx="17">
                        <c:v>2017</c:v>
                      </c:pt>
                      <c:pt idx="18">
                        <c:v>2018</c:v>
                      </c:pt>
                      <c:pt idx="19">
                        <c:v>201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C$2:$C$21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2.4</c:v>
                      </c:pt>
                      <c:pt idx="1">
                        <c:v>4.4000000000000004</c:v>
                      </c:pt>
                      <c:pt idx="2">
                        <c:v>1.8</c:v>
                      </c:pt>
                      <c:pt idx="3">
                        <c:v>2.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FCC8-48F1-AA7C-B6207B2E779A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21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2000</c:v>
                      </c:pt>
                      <c:pt idx="1">
                        <c:v>2001</c:v>
                      </c:pt>
                      <c:pt idx="2">
                        <c:v>2002</c:v>
                      </c:pt>
                      <c:pt idx="3">
                        <c:v>2003</c:v>
                      </c:pt>
                      <c:pt idx="4">
                        <c:v>2004</c:v>
                      </c:pt>
                      <c:pt idx="5">
                        <c:v>2005</c:v>
                      </c:pt>
                      <c:pt idx="6">
                        <c:v>2006</c:v>
                      </c:pt>
                      <c:pt idx="7">
                        <c:v>2007</c:v>
                      </c:pt>
                      <c:pt idx="8">
                        <c:v>2008</c:v>
                      </c:pt>
                      <c:pt idx="9">
                        <c:v>2009</c:v>
                      </c:pt>
                      <c:pt idx="10">
                        <c:v>2010</c:v>
                      </c:pt>
                      <c:pt idx="11">
                        <c:v>2011</c:v>
                      </c:pt>
                      <c:pt idx="12">
                        <c:v>2012</c:v>
                      </c:pt>
                      <c:pt idx="13">
                        <c:v>2013</c:v>
                      </c:pt>
                      <c:pt idx="14">
                        <c:v>2014</c:v>
                      </c:pt>
                      <c:pt idx="15">
                        <c:v>2015</c:v>
                      </c:pt>
                      <c:pt idx="16">
                        <c:v>2016</c:v>
                      </c:pt>
                      <c:pt idx="17">
                        <c:v>2017</c:v>
                      </c:pt>
                      <c:pt idx="18">
                        <c:v>2018</c:v>
                      </c:pt>
                      <c:pt idx="19">
                        <c:v>2019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2:$D$21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2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FCC8-48F1-AA7C-B6207B2E779A}"/>
                  </c:ext>
                </c:extLst>
              </c15:ser>
            </c15:filteredBarSeries>
          </c:ext>
        </c:extLst>
      </c:barChart>
      <c:catAx>
        <c:axId val="1604216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482688"/>
        <c:crosses val="autoZero"/>
        <c:auto val="1"/>
        <c:lblAlgn val="ctr"/>
        <c:lblOffset val="100"/>
        <c:noMultiLvlLbl val="0"/>
      </c:catAx>
      <c:valAx>
        <c:axId val="16074826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4216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76387328453447"/>
          <c:y val="0.30299519573362754"/>
          <c:w val="0.87923612671546569"/>
          <c:h val="0.5706855465906566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0-8A6D-447C-B432-180E13D271B6}"/>
              </c:ext>
            </c:extLst>
          </c:dPt>
          <c:dPt>
            <c:idx val="1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1-8A6D-447C-B432-180E13D271B6}"/>
              </c:ext>
            </c:extLst>
          </c:dPt>
          <c:dPt>
            <c:idx val="2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2-8A6D-447C-B432-180E13D271B6}"/>
              </c:ext>
            </c:extLst>
          </c:dPt>
          <c:dPt>
            <c:idx val="3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3-8A6D-447C-B432-180E13D271B6}"/>
              </c:ext>
            </c:extLst>
          </c:dPt>
          <c:dPt>
            <c:idx val="5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4-8A6D-447C-B432-180E13D271B6}"/>
              </c:ext>
            </c:extLst>
          </c:dPt>
          <c:dPt>
            <c:idx val="8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5-8A6D-447C-B432-180E13D271B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B$1</c:f>
              <c:strCache>
                <c:ptCount val="2"/>
                <c:pt idx="0">
                  <c:v>2019</c:v>
                </c:pt>
                <c:pt idx="1">
                  <c:v>2020</c:v>
                </c:pt>
              </c:strCache>
            </c:strRef>
          </c:cat>
          <c:val>
            <c:numRef>
              <c:f>Sheet1!$A$2:$B$2</c:f>
              <c:numCache>
                <c:formatCode>0.0%</c:formatCode>
                <c:ptCount val="2"/>
                <c:pt idx="0">
                  <c:v>6.2E-2</c:v>
                </c:pt>
                <c:pt idx="1">
                  <c:v>2.8000000000000001E-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6-8A6D-447C-B432-180E13D271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8501496"/>
        <c:axId val="528512472"/>
        <c:extLst/>
      </c:barChart>
      <c:catAx>
        <c:axId val="528501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28512472"/>
        <c:crosses val="autoZero"/>
        <c:auto val="1"/>
        <c:lblAlgn val="ctr"/>
        <c:lblOffset val="20"/>
        <c:tickLblSkip val="1"/>
        <c:tickMarkSkip val="1"/>
        <c:noMultiLvlLbl val="0"/>
      </c:catAx>
      <c:valAx>
        <c:axId val="528512472"/>
        <c:scaling>
          <c:orientation val="minMax"/>
          <c:max val="0.1"/>
        </c:scaling>
        <c:delete val="0"/>
        <c:axPos val="l"/>
        <c:numFmt formatCode="0%" sourceLinked="0"/>
        <c:majorTickMark val="out"/>
        <c:minorTickMark val="none"/>
        <c:tickLblPos val="low"/>
        <c:txPr>
          <a:bodyPr/>
          <a:lstStyle/>
          <a:p>
            <a:pPr>
              <a:defRPr sz="1200"/>
            </a:pPr>
            <a:endParaRPr lang="en-US"/>
          </a:p>
        </c:txPr>
        <c:crossAx val="528501496"/>
        <c:crosses val="autoZero"/>
        <c:crossBetween val="between"/>
        <c:majorUnit val="5.000000000000001E-2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% Chg,</a:t>
            </a:r>
            <a:r>
              <a:rPr lang="en-US" baseline="0" dirty="0"/>
              <a:t> Real Income Since 79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ottom 90%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3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525-4E8E-BDA8-E0D2387ACBF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0</c:f>
              <c:numCache>
                <c:formatCode>General</c:formatCode>
                <c:ptCount val="39"/>
                <c:pt idx="0">
                  <c:v>1979</c:v>
                </c:pt>
                <c:pt idx="1">
                  <c:v>1980</c:v>
                </c:pt>
                <c:pt idx="2">
                  <c:v>1981</c:v>
                </c:pt>
                <c:pt idx="3">
                  <c:v>1982</c:v>
                </c:pt>
                <c:pt idx="4">
                  <c:v>1983</c:v>
                </c:pt>
                <c:pt idx="5">
                  <c:v>1984</c:v>
                </c:pt>
                <c:pt idx="6">
                  <c:v>1985</c:v>
                </c:pt>
                <c:pt idx="7">
                  <c:v>1986</c:v>
                </c:pt>
                <c:pt idx="8">
                  <c:v>1987</c:v>
                </c:pt>
                <c:pt idx="9">
                  <c:v>1988</c:v>
                </c:pt>
                <c:pt idx="10">
                  <c:v>1989</c:v>
                </c:pt>
                <c:pt idx="11">
                  <c:v>1990</c:v>
                </c:pt>
                <c:pt idx="12">
                  <c:v>1991</c:v>
                </c:pt>
                <c:pt idx="13">
                  <c:v>1992</c:v>
                </c:pt>
                <c:pt idx="14">
                  <c:v>1993</c:v>
                </c:pt>
                <c:pt idx="15">
                  <c:v>1994</c:v>
                </c:pt>
                <c:pt idx="16">
                  <c:v>1995</c:v>
                </c:pt>
                <c:pt idx="17">
                  <c:v>1996</c:v>
                </c:pt>
                <c:pt idx="18">
                  <c:v>1997</c:v>
                </c:pt>
                <c:pt idx="19">
                  <c:v>1998</c:v>
                </c:pt>
                <c:pt idx="20">
                  <c:v>1999</c:v>
                </c:pt>
                <c:pt idx="21">
                  <c:v>2000</c:v>
                </c:pt>
                <c:pt idx="22">
                  <c:v>2001</c:v>
                </c:pt>
                <c:pt idx="23">
                  <c:v>2002</c:v>
                </c:pt>
                <c:pt idx="24">
                  <c:v>2003</c:v>
                </c:pt>
                <c:pt idx="25">
                  <c:v>2004</c:v>
                </c:pt>
                <c:pt idx="26">
                  <c:v>2005</c:v>
                </c:pt>
                <c:pt idx="27">
                  <c:v>2006</c:v>
                </c:pt>
                <c:pt idx="28">
                  <c:v>2007</c:v>
                </c:pt>
                <c:pt idx="29">
                  <c:v>2008</c:v>
                </c:pt>
                <c:pt idx="30">
                  <c:v>2009</c:v>
                </c:pt>
                <c:pt idx="31">
                  <c:v>2010</c:v>
                </c:pt>
                <c:pt idx="32">
                  <c:v>2011</c:v>
                </c:pt>
                <c:pt idx="33">
                  <c:v>2012</c:v>
                </c:pt>
                <c:pt idx="34">
                  <c:v>2013</c:v>
                </c:pt>
                <c:pt idx="35">
                  <c:v>2014</c:v>
                </c:pt>
                <c:pt idx="36">
                  <c:v>2015</c:v>
                </c:pt>
                <c:pt idx="37">
                  <c:v>2016</c:v>
                </c:pt>
                <c:pt idx="38">
                  <c:v>2017</c:v>
                </c:pt>
              </c:numCache>
            </c:numRef>
          </c:cat>
          <c:val>
            <c:numRef>
              <c:f>Sheet1!$B$2:$B$40</c:f>
              <c:numCache>
                <c:formatCode>0.00%</c:formatCode>
                <c:ptCount val="39"/>
                <c:pt idx="0">
                  <c:v>0</c:v>
                </c:pt>
                <c:pt idx="1">
                  <c:v>-2.1999999999999999E-2</c:v>
                </c:pt>
                <c:pt idx="2">
                  <c:v>-2.5999999999999999E-2</c:v>
                </c:pt>
                <c:pt idx="3">
                  <c:v>-3.9E-2</c:v>
                </c:pt>
                <c:pt idx="4">
                  <c:v>-3.6999999999999998E-2</c:v>
                </c:pt>
                <c:pt idx="5">
                  <c:v>-1.7999999999999999E-2</c:v>
                </c:pt>
                <c:pt idx="6">
                  <c:v>-0.01</c:v>
                </c:pt>
                <c:pt idx="7">
                  <c:v>1.0999999999999999E-2</c:v>
                </c:pt>
                <c:pt idx="8">
                  <c:v>2.1000000000000001E-2</c:v>
                </c:pt>
                <c:pt idx="9">
                  <c:v>2.1999999999999999E-2</c:v>
                </c:pt>
                <c:pt idx="10">
                  <c:v>1.7999999999999999E-2</c:v>
                </c:pt>
                <c:pt idx="11">
                  <c:v>1.0999999999999999E-2</c:v>
                </c:pt>
                <c:pt idx="12">
                  <c:v>0</c:v>
                </c:pt>
                <c:pt idx="13">
                  <c:v>1.4999999999999999E-2</c:v>
                </c:pt>
                <c:pt idx="14">
                  <c:v>8.9999999999999993E-3</c:v>
                </c:pt>
                <c:pt idx="15">
                  <c:v>0.02</c:v>
                </c:pt>
                <c:pt idx="16">
                  <c:v>2.8000000000000001E-2</c:v>
                </c:pt>
                <c:pt idx="17">
                  <c:v>4.1000000000000002E-2</c:v>
                </c:pt>
                <c:pt idx="18">
                  <c:v>7.0000000000000007E-2</c:v>
                </c:pt>
                <c:pt idx="19">
                  <c:v>0.11</c:v>
                </c:pt>
                <c:pt idx="20">
                  <c:v>0.13200000000000001</c:v>
                </c:pt>
                <c:pt idx="21">
                  <c:v>0.153</c:v>
                </c:pt>
                <c:pt idx="22">
                  <c:v>0.157</c:v>
                </c:pt>
                <c:pt idx="23">
                  <c:v>0.156</c:v>
                </c:pt>
                <c:pt idx="24">
                  <c:v>0.157</c:v>
                </c:pt>
                <c:pt idx="25">
                  <c:v>0.156</c:v>
                </c:pt>
                <c:pt idx="26">
                  <c:v>0.15</c:v>
                </c:pt>
                <c:pt idx="27">
                  <c:v>0.157</c:v>
                </c:pt>
                <c:pt idx="28">
                  <c:v>0.16700000000000001</c:v>
                </c:pt>
                <c:pt idx="29">
                  <c:v>0.16</c:v>
                </c:pt>
                <c:pt idx="30">
                  <c:v>0.16</c:v>
                </c:pt>
                <c:pt idx="31">
                  <c:v>0.152</c:v>
                </c:pt>
                <c:pt idx="32">
                  <c:v>0.14499999999999999</c:v>
                </c:pt>
                <c:pt idx="33">
                  <c:v>0.14599999999999999</c:v>
                </c:pt>
                <c:pt idx="34">
                  <c:v>0.151</c:v>
                </c:pt>
                <c:pt idx="35">
                  <c:v>0.16600000000000001</c:v>
                </c:pt>
                <c:pt idx="36">
                  <c:v>0.20499999999999999</c:v>
                </c:pt>
                <c:pt idx="37">
                  <c:v>0.21</c:v>
                </c:pt>
                <c:pt idx="38">
                  <c:v>0.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525-4E8E-BDA8-E0D2387ACBF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p 1% 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3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525-4E8E-BDA8-E0D2387ACBF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197" b="1" i="0" u="none" strike="noStrike" kern="1200" baseline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0</c:f>
              <c:numCache>
                <c:formatCode>General</c:formatCode>
                <c:ptCount val="39"/>
                <c:pt idx="0">
                  <c:v>1979</c:v>
                </c:pt>
                <c:pt idx="1">
                  <c:v>1980</c:v>
                </c:pt>
                <c:pt idx="2">
                  <c:v>1981</c:v>
                </c:pt>
                <c:pt idx="3">
                  <c:v>1982</c:v>
                </c:pt>
                <c:pt idx="4">
                  <c:v>1983</c:v>
                </c:pt>
                <c:pt idx="5">
                  <c:v>1984</c:v>
                </c:pt>
                <c:pt idx="6">
                  <c:v>1985</c:v>
                </c:pt>
                <c:pt idx="7">
                  <c:v>1986</c:v>
                </c:pt>
                <c:pt idx="8">
                  <c:v>1987</c:v>
                </c:pt>
                <c:pt idx="9">
                  <c:v>1988</c:v>
                </c:pt>
                <c:pt idx="10">
                  <c:v>1989</c:v>
                </c:pt>
                <c:pt idx="11">
                  <c:v>1990</c:v>
                </c:pt>
                <c:pt idx="12">
                  <c:v>1991</c:v>
                </c:pt>
                <c:pt idx="13">
                  <c:v>1992</c:v>
                </c:pt>
                <c:pt idx="14">
                  <c:v>1993</c:v>
                </c:pt>
                <c:pt idx="15">
                  <c:v>1994</c:v>
                </c:pt>
                <c:pt idx="16">
                  <c:v>1995</c:v>
                </c:pt>
                <c:pt idx="17">
                  <c:v>1996</c:v>
                </c:pt>
                <c:pt idx="18">
                  <c:v>1997</c:v>
                </c:pt>
                <c:pt idx="19">
                  <c:v>1998</c:v>
                </c:pt>
                <c:pt idx="20">
                  <c:v>1999</c:v>
                </c:pt>
                <c:pt idx="21">
                  <c:v>2000</c:v>
                </c:pt>
                <c:pt idx="22">
                  <c:v>2001</c:v>
                </c:pt>
                <c:pt idx="23">
                  <c:v>2002</c:v>
                </c:pt>
                <c:pt idx="24">
                  <c:v>2003</c:v>
                </c:pt>
                <c:pt idx="25">
                  <c:v>2004</c:v>
                </c:pt>
                <c:pt idx="26">
                  <c:v>2005</c:v>
                </c:pt>
                <c:pt idx="27">
                  <c:v>2006</c:v>
                </c:pt>
                <c:pt idx="28">
                  <c:v>2007</c:v>
                </c:pt>
                <c:pt idx="29">
                  <c:v>2008</c:v>
                </c:pt>
                <c:pt idx="30">
                  <c:v>2009</c:v>
                </c:pt>
                <c:pt idx="31">
                  <c:v>2010</c:v>
                </c:pt>
                <c:pt idx="32">
                  <c:v>2011</c:v>
                </c:pt>
                <c:pt idx="33">
                  <c:v>2012</c:v>
                </c:pt>
                <c:pt idx="34">
                  <c:v>2013</c:v>
                </c:pt>
                <c:pt idx="35">
                  <c:v>2014</c:v>
                </c:pt>
                <c:pt idx="36">
                  <c:v>2015</c:v>
                </c:pt>
                <c:pt idx="37">
                  <c:v>2016</c:v>
                </c:pt>
                <c:pt idx="38">
                  <c:v>2017</c:v>
                </c:pt>
              </c:numCache>
            </c:numRef>
          </c:cat>
          <c:val>
            <c:numRef>
              <c:f>Sheet1!$C$2:$C$40</c:f>
              <c:numCache>
                <c:formatCode>0.00%</c:formatCode>
                <c:ptCount val="39"/>
                <c:pt idx="0">
                  <c:v>0</c:v>
                </c:pt>
                <c:pt idx="1">
                  <c:v>3.4000000000000002E-2</c:v>
                </c:pt>
                <c:pt idx="2">
                  <c:v>3.1E-2</c:v>
                </c:pt>
                <c:pt idx="3">
                  <c:v>9.5000000000000001E-2</c:v>
                </c:pt>
                <c:pt idx="4">
                  <c:v>0.13600000000000001</c:v>
                </c:pt>
                <c:pt idx="5">
                  <c:v>0.20699999999999999</c:v>
                </c:pt>
                <c:pt idx="6">
                  <c:v>0.23</c:v>
                </c:pt>
                <c:pt idx="7">
                  <c:v>0.32600000000000001</c:v>
                </c:pt>
                <c:pt idx="8">
                  <c:v>0.53500000000000003</c:v>
                </c:pt>
                <c:pt idx="9">
                  <c:v>0.68700000000000006</c:v>
                </c:pt>
                <c:pt idx="10">
                  <c:v>0.63300000000000001</c:v>
                </c:pt>
                <c:pt idx="11">
                  <c:v>0.64800000000000002</c:v>
                </c:pt>
                <c:pt idx="12">
                  <c:v>0.53600000000000003</c:v>
                </c:pt>
                <c:pt idx="13">
                  <c:v>0.74299999999999999</c:v>
                </c:pt>
                <c:pt idx="14">
                  <c:v>0.67900000000000005</c:v>
                </c:pt>
                <c:pt idx="15">
                  <c:v>0.63400000000000001</c:v>
                </c:pt>
                <c:pt idx="16">
                  <c:v>0.70199999999999996</c:v>
                </c:pt>
                <c:pt idx="17">
                  <c:v>0.79</c:v>
                </c:pt>
                <c:pt idx="18">
                  <c:v>1.006</c:v>
                </c:pt>
                <c:pt idx="19">
                  <c:v>1.131</c:v>
                </c:pt>
                <c:pt idx="20">
                  <c:v>1.2969999999999999</c:v>
                </c:pt>
                <c:pt idx="21">
                  <c:v>1.448</c:v>
                </c:pt>
                <c:pt idx="22">
                  <c:v>1.304</c:v>
                </c:pt>
                <c:pt idx="23">
                  <c:v>1.093</c:v>
                </c:pt>
                <c:pt idx="24">
                  <c:v>1.139</c:v>
                </c:pt>
                <c:pt idx="25">
                  <c:v>1.272</c:v>
                </c:pt>
                <c:pt idx="26">
                  <c:v>1.353</c:v>
                </c:pt>
                <c:pt idx="27">
                  <c:v>1.4339999999999999</c:v>
                </c:pt>
                <c:pt idx="28">
                  <c:v>1.5620000000000001</c:v>
                </c:pt>
                <c:pt idx="29">
                  <c:v>1.375</c:v>
                </c:pt>
                <c:pt idx="30">
                  <c:v>1.1619999999999999</c:v>
                </c:pt>
                <c:pt idx="31">
                  <c:v>1.3080000000000001</c:v>
                </c:pt>
                <c:pt idx="32">
                  <c:v>1.34</c:v>
                </c:pt>
                <c:pt idx="33">
                  <c:v>1.4830000000000001</c:v>
                </c:pt>
                <c:pt idx="34">
                  <c:v>1.375</c:v>
                </c:pt>
                <c:pt idx="35">
                  <c:v>1.49</c:v>
                </c:pt>
                <c:pt idx="36">
                  <c:v>1.5620000000000001</c:v>
                </c:pt>
                <c:pt idx="37">
                  <c:v>1.4810000000000001</c:v>
                </c:pt>
                <c:pt idx="38">
                  <c:v>1.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525-4E8E-BDA8-E0D2387ACBF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op 0.1% 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38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525-4E8E-BDA8-E0D2387ACBF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0</c:f>
              <c:numCache>
                <c:formatCode>General</c:formatCode>
                <c:ptCount val="39"/>
                <c:pt idx="0">
                  <c:v>1979</c:v>
                </c:pt>
                <c:pt idx="1">
                  <c:v>1980</c:v>
                </c:pt>
                <c:pt idx="2">
                  <c:v>1981</c:v>
                </c:pt>
                <c:pt idx="3">
                  <c:v>1982</c:v>
                </c:pt>
                <c:pt idx="4">
                  <c:v>1983</c:v>
                </c:pt>
                <c:pt idx="5">
                  <c:v>1984</c:v>
                </c:pt>
                <c:pt idx="6">
                  <c:v>1985</c:v>
                </c:pt>
                <c:pt idx="7">
                  <c:v>1986</c:v>
                </c:pt>
                <c:pt idx="8">
                  <c:v>1987</c:v>
                </c:pt>
                <c:pt idx="9">
                  <c:v>1988</c:v>
                </c:pt>
                <c:pt idx="10">
                  <c:v>1989</c:v>
                </c:pt>
                <c:pt idx="11">
                  <c:v>1990</c:v>
                </c:pt>
                <c:pt idx="12">
                  <c:v>1991</c:v>
                </c:pt>
                <c:pt idx="13">
                  <c:v>1992</c:v>
                </c:pt>
                <c:pt idx="14">
                  <c:v>1993</c:v>
                </c:pt>
                <c:pt idx="15">
                  <c:v>1994</c:v>
                </c:pt>
                <c:pt idx="16">
                  <c:v>1995</c:v>
                </c:pt>
                <c:pt idx="17">
                  <c:v>1996</c:v>
                </c:pt>
                <c:pt idx="18">
                  <c:v>1997</c:v>
                </c:pt>
                <c:pt idx="19">
                  <c:v>1998</c:v>
                </c:pt>
                <c:pt idx="20">
                  <c:v>1999</c:v>
                </c:pt>
                <c:pt idx="21">
                  <c:v>2000</c:v>
                </c:pt>
                <c:pt idx="22">
                  <c:v>2001</c:v>
                </c:pt>
                <c:pt idx="23">
                  <c:v>2002</c:v>
                </c:pt>
                <c:pt idx="24">
                  <c:v>2003</c:v>
                </c:pt>
                <c:pt idx="25">
                  <c:v>2004</c:v>
                </c:pt>
                <c:pt idx="26">
                  <c:v>2005</c:v>
                </c:pt>
                <c:pt idx="27">
                  <c:v>2006</c:v>
                </c:pt>
                <c:pt idx="28">
                  <c:v>2007</c:v>
                </c:pt>
                <c:pt idx="29">
                  <c:v>2008</c:v>
                </c:pt>
                <c:pt idx="30">
                  <c:v>2009</c:v>
                </c:pt>
                <c:pt idx="31">
                  <c:v>2010</c:v>
                </c:pt>
                <c:pt idx="32">
                  <c:v>2011</c:v>
                </c:pt>
                <c:pt idx="33">
                  <c:v>2012</c:v>
                </c:pt>
                <c:pt idx="34">
                  <c:v>2013</c:v>
                </c:pt>
                <c:pt idx="35">
                  <c:v>2014</c:v>
                </c:pt>
                <c:pt idx="36">
                  <c:v>2015</c:v>
                </c:pt>
                <c:pt idx="37">
                  <c:v>2016</c:v>
                </c:pt>
                <c:pt idx="38">
                  <c:v>2017</c:v>
                </c:pt>
              </c:numCache>
            </c:numRef>
          </c:cat>
          <c:val>
            <c:numRef>
              <c:f>Sheet1!$D$2:$D$40</c:f>
              <c:numCache>
                <c:formatCode>0.00%</c:formatCode>
                <c:ptCount val="39"/>
                <c:pt idx="0">
                  <c:v>0</c:v>
                </c:pt>
                <c:pt idx="1">
                  <c:v>5.8000000000000003E-2</c:v>
                </c:pt>
                <c:pt idx="2">
                  <c:v>7.2999999999999995E-2</c:v>
                </c:pt>
                <c:pt idx="3">
                  <c:v>0.17399999999999999</c:v>
                </c:pt>
                <c:pt idx="4">
                  <c:v>0.28699999999999998</c:v>
                </c:pt>
                <c:pt idx="5">
                  <c:v>0.44</c:v>
                </c:pt>
                <c:pt idx="6">
                  <c:v>0.45800000000000002</c:v>
                </c:pt>
                <c:pt idx="7">
                  <c:v>0.60899999999999999</c:v>
                </c:pt>
                <c:pt idx="8">
                  <c:v>1.0660000000000001</c:v>
                </c:pt>
                <c:pt idx="9">
                  <c:v>1.4019999999999999</c:v>
                </c:pt>
                <c:pt idx="10">
                  <c:v>1.2390000000000001</c:v>
                </c:pt>
                <c:pt idx="11">
                  <c:v>1.298</c:v>
                </c:pt>
                <c:pt idx="12">
                  <c:v>1.046</c:v>
                </c:pt>
                <c:pt idx="13">
                  <c:v>1.56</c:v>
                </c:pt>
                <c:pt idx="14">
                  <c:v>1.4019999999999999</c:v>
                </c:pt>
                <c:pt idx="15">
                  <c:v>1.2689999999999999</c:v>
                </c:pt>
                <c:pt idx="16">
                  <c:v>1.37</c:v>
                </c:pt>
                <c:pt idx="17">
                  <c:v>1.573</c:v>
                </c:pt>
                <c:pt idx="18">
                  <c:v>2.2559999999999998</c:v>
                </c:pt>
                <c:pt idx="19">
                  <c:v>2.5489999999999999</c:v>
                </c:pt>
                <c:pt idx="20">
                  <c:v>3.0049999999999999</c:v>
                </c:pt>
                <c:pt idx="21">
                  <c:v>3.3759999999999999</c:v>
                </c:pt>
                <c:pt idx="22">
                  <c:v>3.0049999999999999</c:v>
                </c:pt>
                <c:pt idx="23">
                  <c:v>2.395</c:v>
                </c:pt>
                <c:pt idx="24">
                  <c:v>2.5009999999999999</c:v>
                </c:pt>
                <c:pt idx="25">
                  <c:v>2.8759999999999999</c:v>
                </c:pt>
                <c:pt idx="26">
                  <c:v>3.069</c:v>
                </c:pt>
                <c:pt idx="27">
                  <c:v>3.2490000000000001</c:v>
                </c:pt>
                <c:pt idx="28">
                  <c:v>3.625</c:v>
                </c:pt>
                <c:pt idx="29">
                  <c:v>3.09</c:v>
                </c:pt>
                <c:pt idx="30">
                  <c:v>2.4159999999999999</c:v>
                </c:pt>
                <c:pt idx="31">
                  <c:v>2.78</c:v>
                </c:pt>
                <c:pt idx="32">
                  <c:v>2.79</c:v>
                </c:pt>
                <c:pt idx="33">
                  <c:v>3.2789999999999999</c:v>
                </c:pt>
                <c:pt idx="34">
                  <c:v>2.8929999999999998</c:v>
                </c:pt>
                <c:pt idx="35">
                  <c:v>3.2370000000000001</c:v>
                </c:pt>
                <c:pt idx="36">
                  <c:v>3.379</c:v>
                </c:pt>
                <c:pt idx="37">
                  <c:v>3.1030000000000002</c:v>
                </c:pt>
                <c:pt idx="38">
                  <c:v>3.431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525-4E8E-BDA8-E0D2387ACB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59395648"/>
        <c:axId val="1779140592"/>
      </c:lineChart>
      <c:catAx>
        <c:axId val="1559395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9140592"/>
        <c:crosses val="autoZero"/>
        <c:auto val="1"/>
        <c:lblAlgn val="ctr"/>
        <c:lblOffset val="100"/>
        <c:tickLblSkip val="10"/>
        <c:noMultiLvlLbl val="0"/>
      </c:catAx>
      <c:valAx>
        <c:axId val="1779140592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59395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Life Expectancy at Birt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478670546538205"/>
          <c:y val="0.40047204395030483"/>
          <c:w val="0.82822725683003973"/>
          <c:h val="0.369139708270143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3D5-4BC7-BB22-C33E4A138FBE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3D5-4BC7-BB22-C33E4A138FBE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3D5-4BC7-BB22-C33E4A138F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3"/>
                <c:pt idx="0">
                  <c:v>2008</c:v>
                </c:pt>
                <c:pt idx="1">
                  <c:v>2014</c:v>
                </c:pt>
                <c:pt idx="2">
                  <c:v>2018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3"/>
                <c:pt idx="0">
                  <c:v>78.2</c:v>
                </c:pt>
                <c:pt idx="1">
                  <c:v>78.900000000000006</c:v>
                </c:pt>
                <c:pt idx="2">
                  <c:v>78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3D5-4BC7-BB22-C33E4A138F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47420768"/>
        <c:axId val="1619028640"/>
      </c:lineChart>
      <c:catAx>
        <c:axId val="1547420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9028640"/>
        <c:crosses val="autoZero"/>
        <c:auto val="1"/>
        <c:lblAlgn val="ctr"/>
        <c:lblOffset val="100"/>
        <c:noMultiLvlLbl val="0"/>
      </c:catAx>
      <c:valAx>
        <c:axId val="1619028640"/>
        <c:scaling>
          <c:orientation val="minMax"/>
          <c:min val="78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7420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aseline="0" dirty="0"/>
              <a:t>Search Topic: Utopia vs Dystopia</a:t>
            </a:r>
            <a:endParaRPr lang="en-US" dirty="0"/>
          </a:p>
        </c:rich>
      </c:tx>
      <c:layout>
        <c:manualLayout>
          <c:xMode val="edge"/>
          <c:yMode val="edge"/>
          <c:x val="0.29745418577137506"/>
          <c:y val="0.172274741834522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5622836132641948"/>
          <c:y val="0.3579546101285232"/>
          <c:w val="0.8271991654211609"/>
          <c:h val="0.4116571420919247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ystopi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3D3-4C56-8465-7816628D7E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</c:numCache>
            </c:numRef>
          </c:cat>
          <c:val>
            <c:numRef>
              <c:f>Sheet1!$B$2:$B$17</c:f>
              <c:numCache>
                <c:formatCode>0</c:formatCode>
                <c:ptCount val="16"/>
                <c:pt idx="0">
                  <c:v>5.333333333333333</c:v>
                </c:pt>
                <c:pt idx="1">
                  <c:v>9.75</c:v>
                </c:pt>
                <c:pt idx="2">
                  <c:v>7.416666666666667</c:v>
                </c:pt>
                <c:pt idx="3">
                  <c:v>7.916666666666667</c:v>
                </c:pt>
                <c:pt idx="4">
                  <c:v>7.75</c:v>
                </c:pt>
                <c:pt idx="5">
                  <c:v>9</c:v>
                </c:pt>
                <c:pt idx="6">
                  <c:v>9.5</c:v>
                </c:pt>
                <c:pt idx="7">
                  <c:v>13</c:v>
                </c:pt>
                <c:pt idx="8">
                  <c:v>18.333333333333332</c:v>
                </c:pt>
                <c:pt idx="9">
                  <c:v>18.416666666666668</c:v>
                </c:pt>
                <c:pt idx="10">
                  <c:v>22.5</c:v>
                </c:pt>
                <c:pt idx="11">
                  <c:v>22.416666666666668</c:v>
                </c:pt>
                <c:pt idx="12">
                  <c:v>21.833333333333332</c:v>
                </c:pt>
                <c:pt idx="13">
                  <c:v>24.583333333333332</c:v>
                </c:pt>
                <c:pt idx="14">
                  <c:v>23.916666666666668</c:v>
                </c:pt>
                <c:pt idx="15">
                  <c:v>23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3D3-4C56-8465-7816628D7E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topi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3D3-4C56-8465-7816628D7E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</c:numCache>
            </c:numRef>
          </c:cat>
          <c:val>
            <c:numRef>
              <c:f>Sheet1!$C$2:$C$17</c:f>
              <c:numCache>
                <c:formatCode>0</c:formatCode>
                <c:ptCount val="16"/>
                <c:pt idx="0">
                  <c:v>68.166666666666671</c:v>
                </c:pt>
                <c:pt idx="1">
                  <c:v>58.083333333333336</c:v>
                </c:pt>
                <c:pt idx="2">
                  <c:v>45.25</c:v>
                </c:pt>
                <c:pt idx="3">
                  <c:v>39.083333333333336</c:v>
                </c:pt>
                <c:pt idx="4">
                  <c:v>35</c:v>
                </c:pt>
                <c:pt idx="5">
                  <c:v>33.166666666666664</c:v>
                </c:pt>
                <c:pt idx="6">
                  <c:v>27.916666666666668</c:v>
                </c:pt>
                <c:pt idx="7">
                  <c:v>27.833333333333332</c:v>
                </c:pt>
                <c:pt idx="8">
                  <c:v>25.333333333333332</c:v>
                </c:pt>
                <c:pt idx="9">
                  <c:v>24.916666666666668</c:v>
                </c:pt>
                <c:pt idx="10">
                  <c:v>36.833333333333336</c:v>
                </c:pt>
                <c:pt idx="11">
                  <c:v>25.5</c:v>
                </c:pt>
                <c:pt idx="12">
                  <c:v>24.333333333333332</c:v>
                </c:pt>
                <c:pt idx="13">
                  <c:v>23.833333333333332</c:v>
                </c:pt>
                <c:pt idx="14">
                  <c:v>21.416666666666668</c:v>
                </c:pt>
                <c:pt idx="15">
                  <c:v>22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3D3-4C56-8465-7816628D7E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47420768"/>
        <c:axId val="1619028640"/>
      </c:lineChart>
      <c:catAx>
        <c:axId val="1547420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9028640"/>
        <c:crosses val="autoZero"/>
        <c:auto val="1"/>
        <c:lblAlgn val="ctr"/>
        <c:lblOffset val="100"/>
        <c:noMultiLvlLbl val="0"/>
      </c:catAx>
      <c:valAx>
        <c:axId val="1619028640"/>
        <c:scaling>
          <c:orientation val="minMax"/>
          <c:max val="70"/>
          <c:min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Interest Over Time (12-Mo Mov. Avg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7420768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Median, 50 Largest Jury Verdic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27.7</c:v>
                </c:pt>
                <c:pt idx="1">
                  <c:v>30.74</c:v>
                </c:pt>
                <c:pt idx="2">
                  <c:v>41.75</c:v>
                </c:pt>
                <c:pt idx="3">
                  <c:v>54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8A-40CB-A162-DBBC40753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88090784"/>
        <c:axId val="1607825584"/>
      </c:barChart>
      <c:catAx>
        <c:axId val="1288090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825584"/>
        <c:crosses val="autoZero"/>
        <c:auto val="1"/>
        <c:lblAlgn val="ctr"/>
        <c:lblOffset val="100"/>
        <c:noMultiLvlLbl val="0"/>
      </c:catAx>
      <c:valAx>
        <c:axId val="160782558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$ mill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8090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% of US Law Firms Using Litigation Financi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3</c:v>
                </c:pt>
                <c:pt idx="1">
                  <c:v>2017</c:v>
                </c:pt>
              </c:numCache>
            </c:numRef>
          </c:cat>
          <c:val>
            <c:numRef>
              <c:f>Sheet1!$B$2:$B$3</c:f>
              <c:numCache>
                <c:formatCode>0%</c:formatCode>
                <c:ptCount val="2"/>
                <c:pt idx="0">
                  <c:v>7.0000000000000007E-2</c:v>
                </c:pt>
                <c:pt idx="1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D3-47D0-BEEA-7A7C33698F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85325360"/>
        <c:axId val="1296321264"/>
      </c:barChart>
      <c:catAx>
        <c:axId val="1285325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6321264"/>
        <c:crosses val="autoZero"/>
        <c:auto val="1"/>
        <c:lblAlgn val="ctr"/>
        <c:lblOffset val="100"/>
        <c:noMultiLvlLbl val="0"/>
      </c:catAx>
      <c:valAx>
        <c:axId val="129632126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5325360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59223997804565"/>
          <c:y val="0.17463846739270636"/>
          <c:w val="0.76508693785930915"/>
          <c:h val="0.674710547940822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Insurance-
Related</c:v>
                </c:pt>
                <c:pt idx="1">
                  <c:v>Other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2.9919857524488302E-3</c:v>
                </c:pt>
                <c:pt idx="1">
                  <c:v>-9.144791378833928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A6-4D65-A7F4-F5D5FDBBA9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69100112"/>
        <c:axId val="1062136752"/>
      </c:barChart>
      <c:catAx>
        <c:axId val="1069100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2136752"/>
        <c:crosses val="autoZero"/>
        <c:auto val="1"/>
        <c:lblAlgn val="ctr"/>
        <c:lblOffset val="100"/>
        <c:noMultiLvlLbl val="0"/>
      </c:catAx>
      <c:valAx>
        <c:axId val="1062136752"/>
        <c:scaling>
          <c:orientation val="minMax"/>
          <c:min val="-0.1200000000000000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100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2174273615923"/>
          <c:y val="6.4005644592279004E-2"/>
          <c:w val="0.81506116158784925"/>
          <c:h val="0.7459296842314264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/C Carrie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3.730127527840017E-17"/>
                  <c:y val="0"/>
                </c:manualLayout>
              </c:layout>
              <c:tx>
                <c:rich>
                  <a:bodyPr/>
                  <a:lstStyle/>
                  <a:p>
                    <a:fld id="{F36B0AF0-8155-7940-9F11-B24D7C8562DF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97B4-4E39-9A21-6EC8DD3D58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nd of 2018:Q2</c:v>
                </c:pt>
                <c:pt idx="1">
                  <c:v>End of 2019:Q2</c:v>
                </c:pt>
                <c:pt idx="2">
                  <c:v>End of 2020:Q2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535</c:v>
                </c:pt>
                <c:pt idx="1">
                  <c:v>553.79999999999995</c:v>
                </c:pt>
                <c:pt idx="2">
                  <c:v>56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B4-4E39-9A21-6EC8DD3D58A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ife Carri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7B4-4E39-9A21-6EC8DD3D58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nd of 2018:Q2</c:v>
                </c:pt>
                <c:pt idx="1">
                  <c:v>End of 2019:Q2</c:v>
                </c:pt>
                <c:pt idx="2">
                  <c:v>End of 2020:Q2</c:v>
                </c:pt>
              </c:strCache>
            </c:strRef>
          </c:cat>
          <c:val>
            <c:numRef>
              <c:f>Sheet1!$C$2:$C$4</c:f>
              <c:numCache>
                <c:formatCode>0.0</c:formatCode>
                <c:ptCount val="3"/>
                <c:pt idx="0">
                  <c:v>344.3</c:v>
                </c:pt>
                <c:pt idx="1">
                  <c:v>349.3</c:v>
                </c:pt>
                <c:pt idx="2">
                  <c:v>35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7B4-4E39-9A21-6EC8DD3D58A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ealth Carrier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97B4-4E39-9A21-6EC8DD3D58A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7B4-4E39-9A21-6EC8DD3D58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nd of 2018:Q2</c:v>
                </c:pt>
                <c:pt idx="1">
                  <c:v>End of 2019:Q2</c:v>
                </c:pt>
                <c:pt idx="2">
                  <c:v>End of 2020:Q2</c:v>
                </c:pt>
              </c:strCache>
            </c:strRef>
          </c:cat>
          <c:val>
            <c:numRef>
              <c:f>Sheet1!$D$2:$D$4</c:f>
              <c:numCache>
                <c:formatCode>0.0</c:formatCode>
                <c:ptCount val="3"/>
                <c:pt idx="0">
                  <c:v>535.29999999999995</c:v>
                </c:pt>
                <c:pt idx="1">
                  <c:v>579.20000000000005</c:v>
                </c:pt>
                <c:pt idx="2">
                  <c:v>582.2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7B4-4E39-9A21-6EC8DD3D58A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ents/Broker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0346385192317397E-3"/>
                  <c:y val="5.818694962934454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7B4-4E39-9A21-6EC8DD3D58AF}"/>
                </c:ext>
              </c:extLst>
            </c:dLbl>
            <c:dLbl>
              <c:idx val="1"/>
              <c:layout>
                <c:manualLayout>
                  <c:x val="0"/>
                  <c:y val="5.818694962934454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7B4-4E39-9A21-6EC8DD3D58A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fld id="{BD435416-75B7-894C-A9ED-D9ADD0530AA0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97B4-4E39-9A21-6EC8DD3D58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nd of 2018:Q2</c:v>
                </c:pt>
                <c:pt idx="1">
                  <c:v>End of 2019:Q2</c:v>
                </c:pt>
                <c:pt idx="2">
                  <c:v>End of 2020:Q2</c:v>
                </c:pt>
              </c:strCache>
            </c:strRef>
          </c:cat>
          <c:val>
            <c:numRef>
              <c:f>Sheet1!$E$2:$E$4</c:f>
              <c:numCache>
                <c:formatCode>0.0</c:formatCode>
                <c:ptCount val="3"/>
                <c:pt idx="0">
                  <c:v>825</c:v>
                </c:pt>
                <c:pt idx="1">
                  <c:v>837.2</c:v>
                </c:pt>
                <c:pt idx="2">
                  <c:v>84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7B4-4E39-9A21-6EC8DD3D58A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2"/>
        <c:overlap val="100"/>
        <c:axId val="260257304"/>
        <c:axId val="260269112"/>
      </c:barChart>
      <c:catAx>
        <c:axId val="2602573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86868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0269112"/>
        <c:crosses val="autoZero"/>
        <c:auto val="1"/>
        <c:lblAlgn val="ctr"/>
        <c:lblOffset val="100"/>
        <c:noMultiLvlLbl val="0"/>
      </c:catAx>
      <c:valAx>
        <c:axId val="260269112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>
            <a:solidFill>
              <a:srgbClr val="86868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0257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1683609432029878"/>
          <c:w val="1"/>
          <c:h val="7.689558399916683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08334330938107"/>
          <c:y val="4.2374390701162355E-2"/>
          <c:w val="0.76871676881166295"/>
          <c:h val="0.75130983627046621"/>
        </c:manualLayout>
      </c:layout>
      <c:barChart>
        <c:barDir val="col"/>
        <c:grouping val="stacked"/>
        <c:varyColors val="0"/>
        <c:ser>
          <c:idx val="0"/>
          <c:order val="1"/>
          <c:spPr>
            <a:solidFill>
              <a:schemeClr val="accent2"/>
            </a:solidFill>
          </c:spPr>
          <c:invertIfNegative val="0"/>
          <c:dLbls>
            <c:dLbl>
              <c:idx val="3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812-4B41-9742-270E0BA84DD2}"/>
                </c:ext>
              </c:extLst>
            </c:dLbl>
            <c:dLbl>
              <c:idx val="3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812-4B41-9742-270E0BA84D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L$1:$BD$1</c:f>
              <c:strCache>
                <c:ptCount val="45"/>
                <c:pt idx="0">
                  <c:v>09:Q2</c:v>
                </c:pt>
                <c:pt idx="1">
                  <c:v>09:Q3</c:v>
                </c:pt>
                <c:pt idx="2">
                  <c:v>09:Q4</c:v>
                </c:pt>
                <c:pt idx="3">
                  <c:v>10:Q1</c:v>
                </c:pt>
                <c:pt idx="4">
                  <c:v>10:Q2</c:v>
                </c:pt>
                <c:pt idx="5">
                  <c:v>10:Q3</c:v>
                </c:pt>
                <c:pt idx="6">
                  <c:v>10:Q4</c:v>
                </c:pt>
                <c:pt idx="7">
                  <c:v>11:Q1</c:v>
                </c:pt>
                <c:pt idx="8">
                  <c:v>11:Q2</c:v>
                </c:pt>
                <c:pt idx="9">
                  <c:v>11:Q3</c:v>
                </c:pt>
                <c:pt idx="10">
                  <c:v>11:Q4</c:v>
                </c:pt>
                <c:pt idx="11">
                  <c:v>12:Q1</c:v>
                </c:pt>
                <c:pt idx="12">
                  <c:v>12:Q2</c:v>
                </c:pt>
                <c:pt idx="13">
                  <c:v>12:Q3</c:v>
                </c:pt>
                <c:pt idx="14">
                  <c:v>12:Q4</c:v>
                </c:pt>
                <c:pt idx="15">
                  <c:v>13:Q1</c:v>
                </c:pt>
                <c:pt idx="16">
                  <c:v>13:Q2</c:v>
                </c:pt>
                <c:pt idx="17">
                  <c:v>13:Q3</c:v>
                </c:pt>
                <c:pt idx="18">
                  <c:v>13:Q4</c:v>
                </c:pt>
                <c:pt idx="19">
                  <c:v>14:Q1</c:v>
                </c:pt>
                <c:pt idx="20">
                  <c:v>14:Q2</c:v>
                </c:pt>
                <c:pt idx="21">
                  <c:v>14:Q3</c:v>
                </c:pt>
                <c:pt idx="22">
                  <c:v>14:Q4</c:v>
                </c:pt>
                <c:pt idx="23">
                  <c:v>15:Q1</c:v>
                </c:pt>
                <c:pt idx="24">
                  <c:v>15:Q2</c:v>
                </c:pt>
                <c:pt idx="25">
                  <c:v>15:Q3</c:v>
                </c:pt>
                <c:pt idx="26">
                  <c:v>15:Q4</c:v>
                </c:pt>
                <c:pt idx="27">
                  <c:v>16:Q1</c:v>
                </c:pt>
                <c:pt idx="28">
                  <c:v>16:Q2</c:v>
                </c:pt>
                <c:pt idx="29">
                  <c:v>16:Q3</c:v>
                </c:pt>
                <c:pt idx="30">
                  <c:v>16:Q4</c:v>
                </c:pt>
                <c:pt idx="31">
                  <c:v>17:Q1</c:v>
                </c:pt>
                <c:pt idx="32">
                  <c:v>17:Q2</c:v>
                </c:pt>
                <c:pt idx="33">
                  <c:v>17:Q3</c:v>
                </c:pt>
                <c:pt idx="34">
                  <c:v>17:Q4</c:v>
                </c:pt>
                <c:pt idx="35">
                  <c:v>18:Q1</c:v>
                </c:pt>
                <c:pt idx="36">
                  <c:v>18:Q2</c:v>
                </c:pt>
                <c:pt idx="37">
                  <c:v>18:Q3</c:v>
                </c:pt>
                <c:pt idx="38">
                  <c:v>18:Q4</c:v>
                </c:pt>
                <c:pt idx="39">
                  <c:v>19:Q1</c:v>
                </c:pt>
                <c:pt idx="40">
                  <c:v>19:Q2</c:v>
                </c:pt>
                <c:pt idx="41">
                  <c:v>19:Q3</c:v>
                </c:pt>
                <c:pt idx="42">
                  <c:v>19:Q4</c:v>
                </c:pt>
                <c:pt idx="43">
                  <c:v>20:Q1</c:v>
                </c:pt>
                <c:pt idx="44">
                  <c:v>20:Q2</c:v>
                </c:pt>
              </c:strCache>
            </c:strRef>
          </c:cat>
          <c:val>
            <c:numRef>
              <c:f>Sheet1!$L$3:$BD$3</c:f>
              <c:numCache>
                <c:formatCode>0%</c:formatCode>
                <c:ptCount val="45"/>
                <c:pt idx="0">
                  <c:v>5.9250006291509782E-2</c:v>
                </c:pt>
                <c:pt idx="1">
                  <c:v>6.0054644218620057E-2</c:v>
                </c:pt>
                <c:pt idx="2">
                  <c:v>4.2102689486552602E-2</c:v>
                </c:pt>
                <c:pt idx="3">
                  <c:v>5.7161403344125894E-2</c:v>
                </c:pt>
                <c:pt idx="4">
                  <c:v>-1.8810800813760076E-2</c:v>
                </c:pt>
                <c:pt idx="5">
                  <c:v>2.6899566281956222E-2</c:v>
                </c:pt>
                <c:pt idx="6">
                  <c:v>2.651798825256968E-2</c:v>
                </c:pt>
                <c:pt idx="7">
                  <c:v>1.2978165282960807E-2</c:v>
                </c:pt>
                <c:pt idx="8">
                  <c:v>-1.3145515043997857E-2</c:v>
                </c:pt>
                <c:pt idx="9">
                  <c:v>-3.6593698686003928E-2</c:v>
                </c:pt>
                <c:pt idx="10">
                  <c:v>2.1737838841440649E-2</c:v>
                </c:pt>
                <c:pt idx="11">
                  <c:v>3.69920117461493E-2</c:v>
                </c:pt>
                <c:pt idx="12">
                  <c:v>-5.0730288347804464E-3</c:v>
                </c:pt>
                <c:pt idx="13">
                  <c:v>2.7685506455078723E-2</c:v>
                </c:pt>
                <c:pt idx="14">
                  <c:v>5.8013090221067376E-3</c:v>
                </c:pt>
                <c:pt idx="15">
                  <c:v>3.5549368348231303E-2</c:v>
                </c:pt>
                <c:pt idx="16">
                  <c:v>1.0285699241612933E-2</c:v>
                </c:pt>
                <c:pt idx="17">
                  <c:v>1.6909125259777058E-2</c:v>
                </c:pt>
                <c:pt idx="18">
                  <c:v>4.646283453721356E-2</c:v>
                </c:pt>
                <c:pt idx="19">
                  <c:v>1.3192935198506284E-2</c:v>
                </c:pt>
                <c:pt idx="20">
                  <c:v>1.4463746223565055E-2</c:v>
                </c:pt>
                <c:pt idx="21">
                  <c:v>3.5051930164164968E-3</c:v>
                </c:pt>
                <c:pt idx="22">
                  <c:v>1.1648111299560338E-3</c:v>
                </c:pt>
                <c:pt idx="23">
                  <c:v>-4.4226146189348947E-3</c:v>
                </c:pt>
                <c:pt idx="24">
                  <c:v>1.0554836020424396E-3</c:v>
                </c:pt>
                <c:pt idx="25">
                  <c:v>-1.2743163320390383E-2</c:v>
                </c:pt>
                <c:pt idx="26">
                  <c:v>1.5560275355114728E-2</c:v>
                </c:pt>
                <c:pt idx="27">
                  <c:v>3.2631266686442562E-3</c:v>
                </c:pt>
                <c:pt idx="28">
                  <c:v>6.2684801892372022E-3</c:v>
                </c:pt>
                <c:pt idx="29">
                  <c:v>1.1224729666196476E-2</c:v>
                </c:pt>
                <c:pt idx="30">
                  <c:v>1.8335561108851151E-2</c:v>
                </c:pt>
                <c:pt idx="31">
                  <c:v>1.1556570124126253E-2</c:v>
                </c:pt>
                <c:pt idx="32">
                  <c:v>1.1283497884344129E-2</c:v>
                </c:pt>
                <c:pt idx="33">
                  <c:v>3.3472803347280866E-3</c:v>
                </c:pt>
                <c:pt idx="34">
                  <c:v>4.6010564359188155E-2</c:v>
                </c:pt>
                <c:pt idx="35">
                  <c:v>-4.2524916943522673E-3</c:v>
                </c:pt>
                <c:pt idx="36">
                  <c:v>1.5748031496063186E-2</c:v>
                </c:pt>
                <c:pt idx="37">
                  <c:v>2.6803310997240759E-2</c:v>
                </c:pt>
                <c:pt idx="38">
                  <c:v>-5.0287907869481674E-2</c:v>
                </c:pt>
                <c:pt idx="39">
                  <c:v>5.0255995688493593E-2</c:v>
                </c:pt>
                <c:pt idx="40">
                  <c:v>2.9121231558691507E-2</c:v>
                </c:pt>
                <c:pt idx="41">
                  <c:v>1.2465719272001907E-2</c:v>
                </c:pt>
                <c:pt idx="42">
                  <c:v>4.3831568579167479E-2</c:v>
                </c:pt>
                <c:pt idx="43">
                  <c:v>-8.9525831564048142E-2</c:v>
                </c:pt>
                <c:pt idx="44">
                  <c:v>7.008679880813573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812-4B41-9742-270E0BA84D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77321136"/>
        <c:axId val="1"/>
      </c:barChart>
      <c:lineChart>
        <c:grouping val="standard"/>
        <c:varyColors val="0"/>
        <c:ser>
          <c:idx val="2"/>
          <c:order val="0"/>
          <c:spPr>
            <a:ln w="34038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0F3-4F9C-A7FC-9656F84D5416}"/>
                </c:ext>
              </c:extLst>
            </c:dLbl>
            <c:dLbl>
              <c:idx val="4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0F3-4F9C-A7FC-9656F84D5416}"/>
                </c:ext>
              </c:extLst>
            </c:dLbl>
            <c:dLbl>
              <c:idx val="4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0F3-4F9C-A7FC-9656F84D5416}"/>
                </c:ext>
              </c:extLst>
            </c:dLbl>
            <c:dLbl>
              <c:idx val="44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0F3-4F9C-A7FC-9656F84D541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+mn-lt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L$1:$BD$1</c:f>
              <c:strCache>
                <c:ptCount val="45"/>
                <c:pt idx="0">
                  <c:v>09:Q2</c:v>
                </c:pt>
                <c:pt idx="1">
                  <c:v>09:Q3</c:v>
                </c:pt>
                <c:pt idx="2">
                  <c:v>09:Q4</c:v>
                </c:pt>
                <c:pt idx="3">
                  <c:v>10:Q1</c:v>
                </c:pt>
                <c:pt idx="4">
                  <c:v>10:Q2</c:v>
                </c:pt>
                <c:pt idx="5">
                  <c:v>10:Q3</c:v>
                </c:pt>
                <c:pt idx="6">
                  <c:v>10:Q4</c:v>
                </c:pt>
                <c:pt idx="7">
                  <c:v>11:Q1</c:v>
                </c:pt>
                <c:pt idx="8">
                  <c:v>11:Q2</c:v>
                </c:pt>
                <c:pt idx="9">
                  <c:v>11:Q3</c:v>
                </c:pt>
                <c:pt idx="10">
                  <c:v>11:Q4</c:v>
                </c:pt>
                <c:pt idx="11">
                  <c:v>12:Q1</c:v>
                </c:pt>
                <c:pt idx="12">
                  <c:v>12:Q2</c:v>
                </c:pt>
                <c:pt idx="13">
                  <c:v>12:Q3</c:v>
                </c:pt>
                <c:pt idx="14">
                  <c:v>12:Q4</c:v>
                </c:pt>
                <c:pt idx="15">
                  <c:v>13:Q1</c:v>
                </c:pt>
                <c:pt idx="16">
                  <c:v>13:Q2</c:v>
                </c:pt>
                <c:pt idx="17">
                  <c:v>13:Q3</c:v>
                </c:pt>
                <c:pt idx="18">
                  <c:v>13:Q4</c:v>
                </c:pt>
                <c:pt idx="19">
                  <c:v>14:Q1</c:v>
                </c:pt>
                <c:pt idx="20">
                  <c:v>14:Q2</c:v>
                </c:pt>
                <c:pt idx="21">
                  <c:v>14:Q3</c:v>
                </c:pt>
                <c:pt idx="22">
                  <c:v>14:Q4</c:v>
                </c:pt>
                <c:pt idx="23">
                  <c:v>15:Q1</c:v>
                </c:pt>
                <c:pt idx="24">
                  <c:v>15:Q2</c:v>
                </c:pt>
                <c:pt idx="25">
                  <c:v>15:Q3</c:v>
                </c:pt>
                <c:pt idx="26">
                  <c:v>15:Q4</c:v>
                </c:pt>
                <c:pt idx="27">
                  <c:v>16:Q1</c:v>
                </c:pt>
                <c:pt idx="28">
                  <c:v>16:Q2</c:v>
                </c:pt>
                <c:pt idx="29">
                  <c:v>16:Q3</c:v>
                </c:pt>
                <c:pt idx="30">
                  <c:v>16:Q4</c:v>
                </c:pt>
                <c:pt idx="31">
                  <c:v>17:Q1</c:v>
                </c:pt>
                <c:pt idx="32">
                  <c:v>17:Q2</c:v>
                </c:pt>
                <c:pt idx="33">
                  <c:v>17:Q3</c:v>
                </c:pt>
                <c:pt idx="34">
                  <c:v>17:Q4</c:v>
                </c:pt>
                <c:pt idx="35">
                  <c:v>18:Q1</c:v>
                </c:pt>
                <c:pt idx="36">
                  <c:v>18:Q2</c:v>
                </c:pt>
                <c:pt idx="37">
                  <c:v>18:Q3</c:v>
                </c:pt>
                <c:pt idx="38">
                  <c:v>18:Q4</c:v>
                </c:pt>
                <c:pt idx="39">
                  <c:v>19:Q1</c:v>
                </c:pt>
                <c:pt idx="40">
                  <c:v>19:Q2</c:v>
                </c:pt>
                <c:pt idx="41">
                  <c:v>19:Q3</c:v>
                </c:pt>
                <c:pt idx="42">
                  <c:v>19:Q4</c:v>
                </c:pt>
                <c:pt idx="43">
                  <c:v>20:Q1</c:v>
                </c:pt>
                <c:pt idx="44">
                  <c:v>20:Q2</c:v>
                </c:pt>
              </c:strCache>
            </c:strRef>
          </c:cat>
          <c:val>
            <c:numRef>
              <c:f>Sheet1!$L$2:$BD$2</c:f>
              <c:numCache>
                <c:formatCode>"$"#,##0.0</c:formatCode>
                <c:ptCount val="45"/>
                <c:pt idx="0">
                  <c:v>462.995</c:v>
                </c:pt>
                <c:pt idx="1">
                  <c:v>490.8</c:v>
                </c:pt>
                <c:pt idx="2">
                  <c:v>511.464</c:v>
                </c:pt>
                <c:pt idx="3">
                  <c:v>540.70000000000005</c:v>
                </c:pt>
                <c:pt idx="4">
                  <c:v>530.529</c:v>
                </c:pt>
                <c:pt idx="5">
                  <c:v>544.79999999999995</c:v>
                </c:pt>
                <c:pt idx="6">
                  <c:v>559.24699999999996</c:v>
                </c:pt>
                <c:pt idx="7">
                  <c:v>566.505</c:v>
                </c:pt>
                <c:pt idx="8">
                  <c:v>559.05799999999999</c:v>
                </c:pt>
                <c:pt idx="9">
                  <c:v>538.6</c:v>
                </c:pt>
                <c:pt idx="10">
                  <c:v>550.30799999999999</c:v>
                </c:pt>
                <c:pt idx="11">
                  <c:v>570.66499999999996</c:v>
                </c:pt>
                <c:pt idx="12">
                  <c:v>567.77</c:v>
                </c:pt>
                <c:pt idx="13">
                  <c:v>583.48900000000003</c:v>
                </c:pt>
                <c:pt idx="14">
                  <c:v>586.87400000000002</c:v>
                </c:pt>
                <c:pt idx="15">
                  <c:v>607.73699999999997</c:v>
                </c:pt>
                <c:pt idx="16">
                  <c:v>613.98800000000006</c:v>
                </c:pt>
                <c:pt idx="17">
                  <c:v>624.37</c:v>
                </c:pt>
                <c:pt idx="18">
                  <c:v>653.38</c:v>
                </c:pt>
                <c:pt idx="19">
                  <c:v>662</c:v>
                </c:pt>
                <c:pt idx="20">
                  <c:v>671.57500000000005</c:v>
                </c:pt>
                <c:pt idx="21">
                  <c:v>673.92899999999997</c:v>
                </c:pt>
                <c:pt idx="22">
                  <c:v>674.71400000000006</c:v>
                </c:pt>
                <c:pt idx="23">
                  <c:v>671.73</c:v>
                </c:pt>
                <c:pt idx="24">
                  <c:v>672.43899999999996</c:v>
                </c:pt>
                <c:pt idx="25">
                  <c:v>663.87</c:v>
                </c:pt>
                <c:pt idx="26">
                  <c:v>674.2</c:v>
                </c:pt>
                <c:pt idx="27">
                  <c:v>676.4</c:v>
                </c:pt>
                <c:pt idx="28">
                  <c:v>680.64</c:v>
                </c:pt>
                <c:pt idx="29">
                  <c:v>688.28</c:v>
                </c:pt>
                <c:pt idx="30">
                  <c:v>700.9</c:v>
                </c:pt>
                <c:pt idx="31">
                  <c:v>709</c:v>
                </c:pt>
                <c:pt idx="32">
                  <c:v>717</c:v>
                </c:pt>
                <c:pt idx="33">
                  <c:v>719.4</c:v>
                </c:pt>
                <c:pt idx="34">
                  <c:v>752.5</c:v>
                </c:pt>
                <c:pt idx="35">
                  <c:v>749.3</c:v>
                </c:pt>
                <c:pt idx="36">
                  <c:v>761.1</c:v>
                </c:pt>
                <c:pt idx="37">
                  <c:v>781.5</c:v>
                </c:pt>
                <c:pt idx="38">
                  <c:v>742.2</c:v>
                </c:pt>
                <c:pt idx="39">
                  <c:v>779.5</c:v>
                </c:pt>
                <c:pt idx="40">
                  <c:v>802.2</c:v>
                </c:pt>
                <c:pt idx="41">
                  <c:v>812.2</c:v>
                </c:pt>
                <c:pt idx="42">
                  <c:v>847.8</c:v>
                </c:pt>
                <c:pt idx="43">
                  <c:v>771.9</c:v>
                </c:pt>
                <c:pt idx="44">
                  <c:v>8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AD-4B1D-8E00-E4F79FADA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321136"/>
        <c:axId val="1"/>
      </c:lineChart>
      <c:catAx>
        <c:axId val="177321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525">
            <a:solidFill>
              <a:srgbClr val="868686"/>
            </a:solidFill>
            <a:prstDash val="solid"/>
          </a:ln>
        </c:spPr>
        <c:txPr>
          <a:bodyPr rot="-54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"/>
        <c:crossesAt val="400"/>
        <c:auto val="0"/>
        <c:lblAlgn val="ctr"/>
        <c:lblOffset val="100"/>
        <c:noMultiLvlLbl val="0"/>
      </c:catAx>
      <c:valAx>
        <c:axId val="1"/>
        <c:scaling>
          <c:orientation val="minMax"/>
          <c:min val="400"/>
        </c:scaling>
        <c:delete val="0"/>
        <c:axPos val="l"/>
        <c:numFmt formatCode="\$#,##0" sourceLinked="0"/>
        <c:majorTickMark val="out"/>
        <c:minorTickMark val="none"/>
        <c:tickLblPos val="low"/>
        <c:spPr>
          <a:ln w="9525">
            <a:solidFill>
              <a:srgbClr val="868686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77321136"/>
        <c:crosses val="autoZero"/>
        <c:crossBetween val="between"/>
        <c:majorUnit val="100"/>
        <c:minorUnit val="4"/>
      </c:valAx>
      <c:spPr>
        <a:noFill/>
        <a:ln w="2269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849526028718364E-2"/>
          <c:y val="4.2936507936507939E-2"/>
          <c:w val="0.84434760733291181"/>
          <c:h val="0.75299587551556058"/>
        </c:manualLayout>
      </c:layout>
      <c:barChart>
        <c:barDir val="col"/>
        <c:grouping val="clustered"/>
        <c:varyColors val="0"/>
        <c:ser>
          <c:idx val="0"/>
          <c:order val="1"/>
          <c:spPr>
            <a:solidFill>
              <a:schemeClr val="accent2"/>
            </a:solidFill>
          </c:spPr>
          <c:invertIfNegative val="0"/>
          <c:dLbls>
            <c:dLbl>
              <c:idx val="15"/>
              <c:layout>
                <c:manualLayout>
                  <c:x val="0"/>
                  <c:y val="1.58736407949006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334-47CF-8BFA-93B286B4B0E2}"/>
                </c:ext>
              </c:extLst>
            </c:dLbl>
            <c:dLbl>
              <c:idx val="16"/>
              <c:layout>
                <c:manualLayout>
                  <c:x val="-1.680704212279867E-16"/>
                  <c:y val="1.58730158730158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334-47CF-8BFA-93B286B4B0E2}"/>
                </c:ext>
              </c:extLst>
            </c:dLbl>
            <c:dLbl>
              <c:idx val="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6B4-4F44-A3F2-0F59E77010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M$1:$BD$1</c:f>
              <c:strCache>
                <c:ptCount val="18"/>
                <c:pt idx="0">
                  <c:v>16:Q1</c:v>
                </c:pt>
                <c:pt idx="1">
                  <c:v>16:Q2</c:v>
                </c:pt>
                <c:pt idx="2">
                  <c:v>16:Q3</c:v>
                </c:pt>
                <c:pt idx="3">
                  <c:v>16:Q4</c:v>
                </c:pt>
                <c:pt idx="4">
                  <c:v>17:Q1</c:v>
                </c:pt>
                <c:pt idx="5">
                  <c:v>17:Q2</c:v>
                </c:pt>
                <c:pt idx="6">
                  <c:v>17:Q3</c:v>
                </c:pt>
                <c:pt idx="7">
                  <c:v>17:Q4</c:v>
                </c:pt>
                <c:pt idx="8">
                  <c:v>18:Q1</c:v>
                </c:pt>
                <c:pt idx="9">
                  <c:v>18:Q2</c:v>
                </c:pt>
                <c:pt idx="10">
                  <c:v>18:Q3</c:v>
                </c:pt>
                <c:pt idx="11">
                  <c:v>18:Q4</c:v>
                </c:pt>
                <c:pt idx="12">
                  <c:v>19:Q1</c:v>
                </c:pt>
                <c:pt idx="13">
                  <c:v>19:Q2</c:v>
                </c:pt>
                <c:pt idx="14">
                  <c:v>19:Q3</c:v>
                </c:pt>
                <c:pt idx="15">
                  <c:v>19:Q4</c:v>
                </c:pt>
                <c:pt idx="16">
                  <c:v>20:Q1</c:v>
                </c:pt>
                <c:pt idx="17">
                  <c:v>20:Q2</c:v>
                </c:pt>
              </c:strCache>
            </c:strRef>
          </c:cat>
          <c:val>
            <c:numRef>
              <c:f>Sheet1!$AM$3:$BD$3</c:f>
              <c:numCache>
                <c:formatCode>0%</c:formatCode>
                <c:ptCount val="18"/>
                <c:pt idx="0">
                  <c:v>3.2631266686442562E-3</c:v>
                </c:pt>
                <c:pt idx="1">
                  <c:v>6.2684801892372022E-3</c:v>
                </c:pt>
                <c:pt idx="2">
                  <c:v>1.1224729666196476E-2</c:v>
                </c:pt>
                <c:pt idx="3">
                  <c:v>1.8335561108851151E-2</c:v>
                </c:pt>
                <c:pt idx="4">
                  <c:v>1.1556570124126253E-2</c:v>
                </c:pt>
                <c:pt idx="5">
                  <c:v>1.1283497884344129E-2</c:v>
                </c:pt>
                <c:pt idx="6">
                  <c:v>3.3472803347280866E-3</c:v>
                </c:pt>
                <c:pt idx="7">
                  <c:v>4.6010564359188155E-2</c:v>
                </c:pt>
                <c:pt idx="8">
                  <c:v>-4.2524916943522673E-3</c:v>
                </c:pt>
                <c:pt idx="9">
                  <c:v>1.5614573602028559E-2</c:v>
                </c:pt>
                <c:pt idx="10">
                  <c:v>2.6938239159001398E-2</c:v>
                </c:pt>
                <c:pt idx="11">
                  <c:v>-0.05</c:v>
                </c:pt>
                <c:pt idx="12">
                  <c:v>0.05</c:v>
                </c:pt>
                <c:pt idx="13">
                  <c:v>2.9121231558691507E-2</c:v>
                </c:pt>
                <c:pt idx="14">
                  <c:v>1.2465719272001907E-2</c:v>
                </c:pt>
                <c:pt idx="15">
                  <c:v>4.3831568579167479E-2</c:v>
                </c:pt>
                <c:pt idx="16">
                  <c:v>-8.9525831564048142E-2</c:v>
                </c:pt>
                <c:pt idx="17">
                  <c:v>7.008679880813573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1E-4C58-9C01-96BE2EE832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77321136"/>
        <c:axId val="1"/>
        <c:extLst>
          <c:ext xmlns:c15="http://schemas.microsoft.com/office/drawing/2012/chart" uri="{02D57815-91ED-43cb-92C2-25804820EDAC}">
            <c15:filteredBarSeries>
              <c15:ser>
                <c:idx val="2"/>
                <c:order val="0"/>
                <c:spPr>
                  <a:ln w="34038">
                    <a:solidFill>
                      <a:schemeClr val="accent1"/>
                    </a:solidFill>
                    <a:prstDash val="solid"/>
                  </a:ln>
                </c:spPr>
                <c:invertIfNegative val="0"/>
                <c:dLbls>
                  <c:dLbl>
                    <c:idx val="32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4-FB1E-4C58-9C01-96BE2EE832D0}"/>
                      </c:ext>
                    </c:extLst>
                  </c:dLbl>
                  <c:dLbl>
                    <c:idx val="33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5-FB1E-4C58-9C01-96BE2EE832D0}"/>
                      </c:ext>
                    </c:extLst>
                  </c:dLbl>
                  <c:dLbl>
                    <c:idx val="34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6-FB1E-4C58-9C01-96BE2EE832D0}"/>
                      </c:ext>
                    </c:extLst>
                  </c:dLbl>
                  <c:numFmt formatCode="#,##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sz="1400" b="1"/>
                      </a:pPr>
                      <a:endParaRPr lang="en-US"/>
                    </a:p>
                  </c:txPr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M$1:$BD$1</c15:sqref>
                        </c15:formulaRef>
                      </c:ext>
                    </c:extLst>
                    <c:strCache>
                      <c:ptCount val="18"/>
                      <c:pt idx="0">
                        <c:v>16:Q1</c:v>
                      </c:pt>
                      <c:pt idx="1">
                        <c:v>16:Q2</c:v>
                      </c:pt>
                      <c:pt idx="2">
                        <c:v>16:Q3</c:v>
                      </c:pt>
                      <c:pt idx="3">
                        <c:v>16:Q4</c:v>
                      </c:pt>
                      <c:pt idx="4">
                        <c:v>17:Q1</c:v>
                      </c:pt>
                      <c:pt idx="5">
                        <c:v>17:Q2</c:v>
                      </c:pt>
                      <c:pt idx="6">
                        <c:v>17:Q3</c:v>
                      </c:pt>
                      <c:pt idx="7">
                        <c:v>17:Q4</c:v>
                      </c:pt>
                      <c:pt idx="8">
                        <c:v>18:Q1</c:v>
                      </c:pt>
                      <c:pt idx="9">
                        <c:v>18:Q2</c:v>
                      </c:pt>
                      <c:pt idx="10">
                        <c:v>18:Q3</c:v>
                      </c:pt>
                      <c:pt idx="11">
                        <c:v>18:Q4</c:v>
                      </c:pt>
                      <c:pt idx="12">
                        <c:v>19:Q1</c:v>
                      </c:pt>
                      <c:pt idx="13">
                        <c:v>19:Q2</c:v>
                      </c:pt>
                      <c:pt idx="14">
                        <c:v>19:Q3</c:v>
                      </c:pt>
                      <c:pt idx="15">
                        <c:v>19:Q4</c:v>
                      </c:pt>
                      <c:pt idx="16">
                        <c:v>20:Q1</c:v>
                      </c:pt>
                      <c:pt idx="17">
                        <c:v>20:Q2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AM$2:$BD$2</c15:sqref>
                        </c15:formulaRef>
                      </c:ext>
                    </c:extLst>
                    <c:numCache>
                      <c:formatCode>"$"#,##0.0</c:formatCode>
                      <c:ptCount val="18"/>
                      <c:pt idx="0">
                        <c:v>676.4</c:v>
                      </c:pt>
                      <c:pt idx="1">
                        <c:v>680.64</c:v>
                      </c:pt>
                      <c:pt idx="2">
                        <c:v>688.28</c:v>
                      </c:pt>
                      <c:pt idx="3">
                        <c:v>700.9</c:v>
                      </c:pt>
                      <c:pt idx="4">
                        <c:v>709</c:v>
                      </c:pt>
                      <c:pt idx="5">
                        <c:v>717</c:v>
                      </c:pt>
                      <c:pt idx="6">
                        <c:v>719.4</c:v>
                      </c:pt>
                      <c:pt idx="7">
                        <c:v>752.5</c:v>
                      </c:pt>
                      <c:pt idx="8">
                        <c:v>749.3</c:v>
                      </c:pt>
                      <c:pt idx="9">
                        <c:v>761</c:v>
                      </c:pt>
                      <c:pt idx="10">
                        <c:v>781.5</c:v>
                      </c:pt>
                      <c:pt idx="11" formatCode="&quot;$&quot;#,##0.00_);[Red]\(&quot;$&quot;#,##0.00\)">
                        <c:v>742.2</c:v>
                      </c:pt>
                      <c:pt idx="12" formatCode="&quot;$&quot;#,##0.00_);[Red]\(&quot;$&quot;#,##0.00\)">
                        <c:v>779.5</c:v>
                      </c:pt>
                      <c:pt idx="13" formatCode="&quot;$&quot;#,##0.00_);[Red]\(&quot;$&quot;#,##0.00\)">
                        <c:v>802.2</c:v>
                      </c:pt>
                      <c:pt idx="14">
                        <c:v>812.2</c:v>
                      </c:pt>
                      <c:pt idx="15">
                        <c:v>847.8</c:v>
                      </c:pt>
                      <c:pt idx="16">
                        <c:v>771.9</c:v>
                      </c:pt>
                      <c:pt idx="17">
                        <c:v>826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7-FB1E-4C58-9C01-96BE2EE832D0}"/>
                  </c:ext>
                </c:extLst>
              </c15:ser>
            </c15:filteredBarSeries>
          </c:ext>
        </c:extLst>
      </c:barChart>
      <c:catAx>
        <c:axId val="177321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9525">
            <a:solidFill>
              <a:srgbClr val="868686"/>
            </a:solidFill>
            <a:prstDash val="solid"/>
          </a:ln>
        </c:spPr>
        <c:txPr>
          <a:bodyPr rot="-54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"/>
        <c:crosses val="autoZero"/>
        <c:auto val="0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9525">
            <a:solidFill>
              <a:srgbClr val="868686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77321136"/>
        <c:crosses val="autoZero"/>
        <c:crossBetween val="between"/>
      </c:valAx>
      <c:spPr>
        <a:noFill/>
        <a:ln w="2269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694182524705468"/>
          <c:y val="2.0510387765076282E-2"/>
          <c:w val="0.64676686043577825"/>
          <c:h val="0.806502854614369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owe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38-4FBA-A62F-F4943509622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Median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cat>
          <c:val>
            <c:numRef>
              <c:f>Sheet1!$B$3</c:f>
              <c:numCache>
                <c:formatCode>General</c:formatCode>
                <c:ptCount val="1"/>
                <c:pt idx="0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38-4FBA-A62F-F49435096225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Higher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cat>
          <c:val>
            <c:numRef>
              <c:f>Sheet1!$B$4</c:f>
              <c:numCache>
                <c:formatCode>General</c:formatCode>
                <c:ptCount val="1"/>
                <c:pt idx="0">
                  <c:v>3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B38-4FBA-A62F-F49435096225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Lowe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cat>
          <c:val>
            <c:numRef>
              <c:f>Sheet1!$B$5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B38-4FBA-A62F-F49435096225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Median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cat>
          <c:val>
            <c:numRef>
              <c:f>Sheet1!$B$6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B38-4FBA-A62F-F49435096225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Higher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cat>
          <c:val>
            <c:numRef>
              <c:f>Sheet1!$B$7</c:f>
              <c:numCache>
                <c:formatCode>General</c:formatCode>
                <c:ptCount val="1"/>
                <c:pt idx="0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B38-4FBA-A62F-F4943509622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-30"/>
        <c:axId val="197518848"/>
        <c:axId val="197520384"/>
      </c:barChart>
      <c:catAx>
        <c:axId val="197518848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97520384"/>
        <c:crosses val="autoZero"/>
        <c:auto val="1"/>
        <c:lblAlgn val="ctr"/>
        <c:lblOffset val="100"/>
        <c:noMultiLvlLbl val="0"/>
      </c:catAx>
      <c:valAx>
        <c:axId val="19752038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Monthly Range ($B)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1975188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170348663645897"/>
          <c:y val="0.13554265591144804"/>
          <c:w val="0.83764325000626505"/>
          <c:h val="0.70821860376273094"/>
        </c:manualLayout>
      </c:layout>
      <c:barChart>
        <c:barDir val="col"/>
        <c:grouping val="clustered"/>
        <c:varyColors val="0"/>
        <c:ser>
          <c:idx val="2"/>
          <c:order val="0"/>
          <c:spPr>
            <a:solidFill>
              <a:srgbClr val="337DBE"/>
            </a:solidFill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1DF-4CD2-BC3E-AFD98A0EF4A7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060-4A09-B385-14594237D649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7A7-413B-A9B3-6FD57A22FF25}"/>
              </c:ext>
            </c:extLst>
          </c:dPt>
          <c:dPt>
            <c:idx val="2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060-4A09-B385-14594237D649}"/>
              </c:ext>
            </c:extLst>
          </c:dPt>
          <c:dPt>
            <c:idx val="2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C89-4DF5-A6D1-A29E3486CAB4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3A9-4835-A429-2B6B911BCD5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3A9-4835-A429-2B6B911BCD5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3A9-4835-A429-2B6B911BCD5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9C-42F7-B227-978E4F089420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395-4B67-8EB2-9C2C058C679E}"/>
                </c:ext>
              </c:extLst>
            </c:dLbl>
            <c:dLbl>
              <c:idx val="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3A9-4835-A429-2B6B911BCD5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3A9-4835-A429-2B6B911BCD5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3A9-4835-A429-2B6B911BCD5D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1DF-4CD2-BC3E-AFD98A0EF4A7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60-4A09-B385-14594237D649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3A9-4835-A429-2B6B911BCD5D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3A9-4835-A429-2B6B911BCD5D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3A9-4835-A429-2B6B911BCD5D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7A7-413B-A9B3-6FD57A22FF25}"/>
                </c:ext>
              </c:extLst>
            </c:dLbl>
            <c:dLbl>
              <c:idx val="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3A9-4835-A429-2B6B911BCD5D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3A9-4835-A429-2B6B911BCD5D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3A9-4835-A429-2B6B911BCD5D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G$1:$X$1</c:f>
              <c:strCache>
                <c:ptCount val="18"/>
                <c:pt idx="0">
                  <c:v>02</c:v>
                </c:pt>
                <c:pt idx="1">
                  <c:v>03</c:v>
                </c:pt>
                <c:pt idx="2">
                  <c:v>04</c:v>
                </c:pt>
                <c:pt idx="3">
                  <c:v>05</c:v>
                </c:pt>
                <c:pt idx="4">
                  <c:v>06</c:v>
                </c:pt>
                <c:pt idx="5">
                  <c:v>07</c:v>
                </c:pt>
                <c:pt idx="6">
                  <c:v>08</c:v>
                </c:pt>
                <c:pt idx="7">
                  <c:v>0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</c:strCache>
            </c:strRef>
          </c:cat>
          <c:val>
            <c:numRef>
              <c:f>Sheet1!$G$2:$X$2</c:f>
              <c:numCache>
                <c:formatCode>0</c:formatCode>
                <c:ptCount val="18"/>
                <c:pt idx="0">
                  <c:v>8.8339833898591991</c:v>
                </c:pt>
                <c:pt idx="1">
                  <c:v>30.032795222215903</c:v>
                </c:pt>
                <c:pt idx="2">
                  <c:v>38.403504632712199</c:v>
                </c:pt>
                <c:pt idx="3">
                  <c:v>46.760871788188304</c:v>
                </c:pt>
                <c:pt idx="4">
                  <c:v>66.448375564434997</c:v>
                </c:pt>
                <c:pt idx="5">
                  <c:v>63.618784199845599</c:v>
                </c:pt>
                <c:pt idx="6">
                  <c:v>3.7088862502961</c:v>
                </c:pt>
                <c:pt idx="7">
                  <c:v>32.203170139788398</c:v>
                </c:pt>
                <c:pt idx="8">
                  <c:v>37.217758583579204</c:v>
                </c:pt>
                <c:pt idx="9">
                  <c:v>20.1248760217096</c:v>
                </c:pt>
                <c:pt idx="10">
                  <c:v>38.415881107662202</c:v>
                </c:pt>
                <c:pt idx="11">
                  <c:v>71.624731726388205</c:v>
                </c:pt>
                <c:pt idx="12">
                  <c:v>64.757509254461894</c:v>
                </c:pt>
                <c:pt idx="13">
                  <c:v>58.314974251858395</c:v>
                </c:pt>
                <c:pt idx="14">
                  <c:v>44.307881936217797</c:v>
                </c:pt>
                <c:pt idx="15">
                  <c:v>40.644539612000003</c:v>
                </c:pt>
                <c:pt idx="16">
                  <c:v>60.752126631152002</c:v>
                </c:pt>
                <c:pt idx="17">
                  <c:v>63.053774629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A7-413B-A9B3-6FD57A22FF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555563256"/>
        <c:axId val="555563648"/>
      </c:barChart>
      <c:catAx>
        <c:axId val="555563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 anchor="t" anchorCtr="0"/>
          <a:lstStyle/>
          <a:p>
            <a:pPr>
              <a:defRPr sz="1100"/>
            </a:pPr>
            <a:endParaRPr lang="en-US"/>
          </a:p>
        </c:txPr>
        <c:crossAx val="555563648"/>
        <c:crossesAt val="0"/>
        <c:auto val="1"/>
        <c:lblAlgn val="ctr"/>
        <c:lblOffset val="400"/>
        <c:tickLblSkip val="1"/>
        <c:tickMarkSkip val="1"/>
        <c:noMultiLvlLbl val="0"/>
      </c:catAx>
      <c:valAx>
        <c:axId val="555563648"/>
        <c:scaling>
          <c:orientation val="minMax"/>
          <c:min val="0"/>
        </c:scaling>
        <c:delete val="0"/>
        <c:axPos val="l"/>
        <c:numFmt formatCode="\$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55556325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29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C5E-4779-9572-2DB92C9C3F0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2</c:f>
              <c:numCache>
                <c:formatCode>d\-mmm</c:formatCode>
                <c:ptCount val="30"/>
                <c:pt idx="0">
                  <c:v>43906</c:v>
                </c:pt>
                <c:pt idx="1">
                  <c:v>43913</c:v>
                </c:pt>
                <c:pt idx="2">
                  <c:v>43920</c:v>
                </c:pt>
                <c:pt idx="3">
                  <c:v>43927</c:v>
                </c:pt>
                <c:pt idx="4">
                  <c:v>43934</c:v>
                </c:pt>
                <c:pt idx="5">
                  <c:v>43941</c:v>
                </c:pt>
                <c:pt idx="6">
                  <c:v>43948</c:v>
                </c:pt>
                <c:pt idx="7">
                  <c:v>43955</c:v>
                </c:pt>
                <c:pt idx="8">
                  <c:v>43962</c:v>
                </c:pt>
                <c:pt idx="9">
                  <c:v>43969</c:v>
                </c:pt>
                <c:pt idx="10">
                  <c:v>43976</c:v>
                </c:pt>
                <c:pt idx="11">
                  <c:v>43983</c:v>
                </c:pt>
                <c:pt idx="12">
                  <c:v>43990</c:v>
                </c:pt>
                <c:pt idx="13">
                  <c:v>43997</c:v>
                </c:pt>
                <c:pt idx="14">
                  <c:v>44004</c:v>
                </c:pt>
                <c:pt idx="15">
                  <c:v>44011</c:v>
                </c:pt>
                <c:pt idx="16">
                  <c:v>44018</c:v>
                </c:pt>
                <c:pt idx="17">
                  <c:v>44025</c:v>
                </c:pt>
                <c:pt idx="18">
                  <c:v>44032</c:v>
                </c:pt>
                <c:pt idx="19">
                  <c:v>44039</c:v>
                </c:pt>
                <c:pt idx="20">
                  <c:v>44046</c:v>
                </c:pt>
                <c:pt idx="21">
                  <c:v>44053</c:v>
                </c:pt>
                <c:pt idx="22">
                  <c:v>44060</c:v>
                </c:pt>
                <c:pt idx="23">
                  <c:v>44067</c:v>
                </c:pt>
                <c:pt idx="24">
                  <c:v>44074</c:v>
                </c:pt>
                <c:pt idx="25">
                  <c:v>44081</c:v>
                </c:pt>
                <c:pt idx="26">
                  <c:v>44088</c:v>
                </c:pt>
                <c:pt idx="27">
                  <c:v>44095</c:v>
                </c:pt>
                <c:pt idx="28">
                  <c:v>44102</c:v>
                </c:pt>
                <c:pt idx="29">
                  <c:v>44109</c:v>
                </c:pt>
              </c:numCache>
            </c:numRef>
          </c:cat>
          <c:val>
            <c:numRef>
              <c:f>Sheet1!$B$2:$B$32</c:f>
              <c:numCache>
                <c:formatCode>General</c:formatCode>
                <c:ptCount val="30"/>
                <c:pt idx="0">
                  <c:v>1</c:v>
                </c:pt>
                <c:pt idx="1">
                  <c:v>6</c:v>
                </c:pt>
                <c:pt idx="2">
                  <c:v>15</c:v>
                </c:pt>
                <c:pt idx="3">
                  <c:v>35</c:v>
                </c:pt>
                <c:pt idx="4">
                  <c:v>63</c:v>
                </c:pt>
                <c:pt idx="5">
                  <c:v>118</c:v>
                </c:pt>
                <c:pt idx="6">
                  <c:v>183</c:v>
                </c:pt>
                <c:pt idx="7">
                  <c:v>262</c:v>
                </c:pt>
                <c:pt idx="8">
                  <c:v>322</c:v>
                </c:pt>
                <c:pt idx="9">
                  <c:v>392</c:v>
                </c:pt>
                <c:pt idx="10">
                  <c:v>451</c:v>
                </c:pt>
                <c:pt idx="11">
                  <c:v>516</c:v>
                </c:pt>
                <c:pt idx="12">
                  <c:v>581</c:v>
                </c:pt>
                <c:pt idx="13">
                  <c:v>654</c:v>
                </c:pt>
                <c:pt idx="14">
                  <c:v>726</c:v>
                </c:pt>
                <c:pt idx="15">
                  <c:v>786</c:v>
                </c:pt>
                <c:pt idx="16">
                  <c:v>841</c:v>
                </c:pt>
                <c:pt idx="17">
                  <c:v>893</c:v>
                </c:pt>
                <c:pt idx="18">
                  <c:v>948</c:v>
                </c:pt>
                <c:pt idx="19">
                  <c:v>991</c:v>
                </c:pt>
                <c:pt idx="20">
                  <c:v>1043</c:v>
                </c:pt>
                <c:pt idx="21">
                  <c:v>1082</c:v>
                </c:pt>
                <c:pt idx="22">
                  <c:v>1120</c:v>
                </c:pt>
                <c:pt idx="23">
                  <c:v>1169</c:v>
                </c:pt>
                <c:pt idx="24">
                  <c:v>1191</c:v>
                </c:pt>
                <c:pt idx="25">
                  <c:v>1208</c:v>
                </c:pt>
                <c:pt idx="26">
                  <c:v>1238</c:v>
                </c:pt>
                <c:pt idx="27">
                  <c:v>1255</c:v>
                </c:pt>
                <c:pt idx="28">
                  <c:v>1277</c:v>
                </c:pt>
                <c:pt idx="29">
                  <c:v>1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719-4B60-B107-6C194085AC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4737791"/>
        <c:axId val="1621511119"/>
      </c:lineChart>
      <c:dateAx>
        <c:axId val="1044737791"/>
        <c:scaling>
          <c:orientation val="minMax"/>
        </c:scaling>
        <c:delete val="0"/>
        <c:axPos val="b"/>
        <c:numFmt formatCode="d\-mmm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1511119"/>
        <c:crosses val="autoZero"/>
        <c:auto val="1"/>
        <c:lblOffset val="100"/>
        <c:baseTimeUnit val="days"/>
        <c:majorUnit val="14"/>
        <c:majorTimeUnit val="days"/>
      </c:dateAx>
      <c:valAx>
        <c:axId val="1621511119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4737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erforming Arts, Sports</c:v>
                </c:pt>
                <c:pt idx="1">
                  <c:v>Personal &amp; Laundry</c:v>
                </c:pt>
                <c:pt idx="2">
                  <c:v>Ambulatory Health Care</c:v>
                </c:pt>
                <c:pt idx="3">
                  <c:v>Food &amp; Drinking Place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4</c:v>
                </c:pt>
                <c:pt idx="1">
                  <c:v>75</c:v>
                </c:pt>
                <c:pt idx="2">
                  <c:v>174</c:v>
                </c:pt>
                <c:pt idx="3">
                  <c:v>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34-4962-93F8-A800AB35B9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442263855"/>
        <c:axId val="1446406863"/>
      </c:barChart>
      <c:catAx>
        <c:axId val="144226385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6406863"/>
        <c:crosses val="autoZero"/>
        <c:auto val="1"/>
        <c:lblAlgn val="ctr"/>
        <c:lblOffset val="100"/>
        <c:noMultiLvlLbl val="0"/>
      </c:catAx>
      <c:valAx>
        <c:axId val="1446406863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22638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housands of Dollar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8CB-4949-9FAF-56030851820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241-4F3D-A7B3-D282DEC244E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241-4F3D-A7B3-D282DEC244E0}"/>
              </c:ext>
            </c:extLst>
          </c:dPt>
          <c:dLbls>
            <c:dLbl>
              <c:idx val="0"/>
              <c:layout>
                <c:manualLayout>
                  <c:x val="0"/>
                  <c:y val="5.421430873554729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8CB-4949-9FAF-560308518202}"/>
                </c:ext>
              </c:extLst>
            </c:dLbl>
            <c:dLbl>
              <c:idx val="1"/>
              <c:layout>
                <c:manualLayout>
                  <c:x val="-2.4492917063029356E-2"/>
                  <c:y val="-2.258929530647799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241-4F3D-A7B3-D282DEC244E0}"/>
                </c:ext>
              </c:extLst>
            </c:dLbl>
            <c:dLbl>
              <c:idx val="2"/>
              <c:layout>
                <c:manualLayout>
                  <c:x val="6.1232292657573111E-3"/>
                  <c:y val="-2.936608389842145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241-4F3D-A7B3-D282DEC244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emium Credits</c:v>
                </c:pt>
                <c:pt idx="1">
                  <c:v>Dividends</c:v>
                </c:pt>
                <c:pt idx="2">
                  <c:v>UW Expense</c:v>
                </c:pt>
              </c:strCache>
            </c:strRef>
          </c:cat>
          <c:val>
            <c:numRef>
              <c:f>Sheet1!$B$2:$B$4</c:f>
              <c:numCache>
                <c:formatCode>_("$"* #,##0_);_("$"* \(#,##0\);_("$"* "-"??_);_(@_)</c:formatCode>
                <c:ptCount val="3"/>
                <c:pt idx="0">
                  <c:v>8724</c:v>
                </c:pt>
                <c:pt idx="1">
                  <c:v>3636</c:v>
                </c:pt>
                <c:pt idx="2">
                  <c:v>16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CB-4949-9FAF-56030851820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163"/>
        <c:holeSize val="4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529363875405107E-2"/>
          <c:y val="0.1931323316088879"/>
          <c:w val="0.89219094704715651"/>
          <c:h val="0.5763328578855863"/>
        </c:manualLayout>
      </c:layout>
      <c:lineChart>
        <c:grouping val="standard"/>
        <c:varyColors val="0"/>
        <c:ser>
          <c:idx val="4"/>
          <c:order val="0"/>
          <c:tx>
            <c:strRef>
              <c:f>Sheet1!$A$2</c:f>
              <c:strCache>
                <c:ptCount val="1"/>
                <c:pt idx="0">
                  <c:v>YoY change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circle"/>
            <c:size val="6"/>
            <c:spPr>
              <a:solidFill>
                <a:schemeClr val="accent1"/>
              </a:solidFill>
              <a:ln>
                <a:noFill/>
              </a:ln>
            </c:spPr>
          </c:marker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1-E8BE-4E3D-A537-1EAE2388970F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2-E8BE-4E3D-A537-1EAE2388970F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3-E8BE-4E3D-A537-1EAE2388970F}"/>
              </c:ext>
            </c:extLst>
          </c:dPt>
          <c:dLbls>
            <c:dLbl>
              <c:idx val="5"/>
              <c:layout>
                <c:manualLayout>
                  <c:x val="-1.156305140732351E-2"/>
                  <c:y val="-4.117189901479211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/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8BE-4E3D-A537-1EAE2388970F}"/>
                </c:ext>
              </c:extLst>
            </c:dLbl>
            <c:dLbl>
              <c:idx val="7"/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8BE-4E3D-A537-1EAE2388970F}"/>
                </c:ext>
              </c:extLst>
            </c:dLbl>
            <c:dLbl>
              <c:idx val="11"/>
              <c:dLblPos val="b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8BE-4E3D-A537-1EAE238897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AH$1</c:f>
              <c:numCache>
                <c:formatCode>mmm\-yy</c:formatCode>
                <c:ptCount val="12"/>
                <c:pt idx="0">
                  <c:v>43739</c:v>
                </c:pt>
                <c:pt idx="1">
                  <c:v>43770</c:v>
                </c:pt>
                <c:pt idx="2" formatCode="[$-409]mmm\-yy;@">
                  <c:v>43800</c:v>
                </c:pt>
                <c:pt idx="3">
                  <c:v>43831</c:v>
                </c:pt>
                <c:pt idx="4">
                  <c:v>43862</c:v>
                </c:pt>
                <c:pt idx="5" formatCode="[$-409]mmm\-yy;@">
                  <c:v>43891</c:v>
                </c:pt>
                <c:pt idx="6">
                  <c:v>43922</c:v>
                </c:pt>
                <c:pt idx="7">
                  <c:v>43952</c:v>
                </c:pt>
                <c:pt idx="8" formatCode="[$-409]mmm\-yy;@">
                  <c:v>43983</c:v>
                </c:pt>
                <c:pt idx="9">
                  <c:v>44013</c:v>
                </c:pt>
                <c:pt idx="10">
                  <c:v>44044</c:v>
                </c:pt>
                <c:pt idx="11" formatCode="[$-409]mmm\-yy;@">
                  <c:v>44075</c:v>
                </c:pt>
              </c:numCache>
            </c:numRef>
          </c:cat>
          <c:val>
            <c:numRef>
              <c:f>Sheet1!$B$2:$AH$2</c:f>
              <c:numCache>
                <c:formatCode>#0.0</c:formatCode>
                <c:ptCount val="12"/>
                <c:pt idx="0">
                  <c:v>-0.2</c:v>
                </c:pt>
                <c:pt idx="1">
                  <c:v>-0.2</c:v>
                </c:pt>
                <c:pt idx="2">
                  <c:v>0</c:v>
                </c:pt>
                <c:pt idx="3">
                  <c:v>0</c:v>
                </c:pt>
                <c:pt idx="4">
                  <c:v>0.3</c:v>
                </c:pt>
                <c:pt idx="5">
                  <c:v>1.1000000000000001</c:v>
                </c:pt>
                <c:pt idx="6">
                  <c:v>-6.2</c:v>
                </c:pt>
                <c:pt idx="7">
                  <c:v>-14.3</c:v>
                </c:pt>
                <c:pt idx="8">
                  <c:v>-10.1</c:v>
                </c:pt>
                <c:pt idx="9">
                  <c:v>-1.9</c:v>
                </c:pt>
                <c:pt idx="10">
                  <c:v>-1.5</c:v>
                </c:pt>
                <c:pt idx="11">
                  <c:v>-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8BE-4E3D-A537-1EAE2388970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26602592"/>
        <c:axId val="226604552"/>
      </c:lineChart>
      <c:dateAx>
        <c:axId val="22660259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low"/>
        <c:txPr>
          <a:bodyPr rot="-5400000" vert="horz"/>
          <a:lstStyle/>
          <a:p>
            <a:pPr>
              <a:defRPr>
                <a:solidFill>
                  <a:schemeClr val="tx1"/>
                </a:solidFill>
              </a:defRPr>
            </a:pPr>
            <a:endParaRPr lang="en-US"/>
          </a:p>
        </c:txPr>
        <c:crossAx val="226604552"/>
        <c:crosses val="autoZero"/>
        <c:auto val="1"/>
        <c:lblOffset val="200"/>
        <c:baseTimeUnit val="months"/>
        <c:minorUnit val="1"/>
      </c:dateAx>
      <c:valAx>
        <c:axId val="226604552"/>
        <c:scaling>
          <c:orientation val="minMax"/>
          <c:max val="5"/>
          <c:min val="-15"/>
        </c:scaling>
        <c:delete val="0"/>
        <c:axPos val="l"/>
        <c:numFmt formatCode="#,##0&quot;%&quot;" sourceLinked="0"/>
        <c:majorTickMark val="out"/>
        <c:minorTickMark val="none"/>
        <c:tickLblPos val="nextTo"/>
        <c:txPr>
          <a:bodyPr rot="0" vert="horz"/>
          <a:lstStyle/>
          <a:p>
            <a:pPr>
              <a:defRPr>
                <a:solidFill>
                  <a:schemeClr val="tx1"/>
                </a:solidFill>
              </a:defRPr>
            </a:pPr>
            <a:endParaRPr lang="en-US"/>
          </a:p>
        </c:txPr>
        <c:crossAx val="22660259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en-US"/>
    </a:p>
  </c:txPr>
  <c:externalData r:id="rId1">
    <c:autoUpdate val="0"/>
  </c:externalData>
  <c:userShapes r:id="rId2"/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478002586590862E-2"/>
          <c:y val="4.1171899014792117E-2"/>
          <c:w val="0.81549821589944438"/>
          <c:h val="0.857420269600785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First Half</c:v>
                </c:pt>
                <c:pt idx="1">
                  <c:v>Second Half</c:v>
                </c:pt>
              </c:strCache>
            </c:strRef>
          </c:cat>
          <c:val>
            <c:numRef>
              <c:f>Sheet1!$B$2:$B$3</c:f>
              <c:numCache>
                <c:formatCode>"$"#,##0_);[Red]\("$"#,##0\)</c:formatCode>
                <c:ptCount val="2"/>
                <c:pt idx="0">
                  <c:v>9610</c:v>
                </c:pt>
                <c:pt idx="1">
                  <c:v>43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BF-4CEC-8054-FD92FF3F86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4"/>
        <c:overlap val="-27"/>
        <c:axId val="740571776"/>
        <c:axId val="742030848"/>
      </c:barChart>
      <c:catAx>
        <c:axId val="740571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2030848"/>
        <c:crosses val="autoZero"/>
        <c:auto val="1"/>
        <c:lblAlgn val="ctr"/>
        <c:lblOffset val="100"/>
        <c:noMultiLvlLbl val="0"/>
      </c:catAx>
      <c:valAx>
        <c:axId val="742030848"/>
        <c:scaling>
          <c:orientation val="minMax"/>
        </c:scaling>
        <c:delete val="1"/>
        <c:axPos val="l"/>
        <c:numFmt formatCode="&quot;$&quot;#,##0_);[Red]\(&quot;$&quot;#,##0\)" sourceLinked="1"/>
        <c:majorTickMark val="none"/>
        <c:minorTickMark val="none"/>
        <c:tickLblPos val="nextTo"/>
        <c:crossAx val="740571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noFill/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DEA-452D-B8F9-BB3EE6DA2CF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DEA-452D-B8F9-BB3EE6DA2CF2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9DEA-452D-B8F9-BB3EE6DA2CF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ctual</c:v>
                </c:pt>
                <c:pt idx="1">
                  <c:v>% Saying Yes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85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EA-452D-B8F9-BB3EE6DA2CF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ctual</c:v>
                </c:pt>
                <c:pt idx="1">
                  <c:v>% Saying Ye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 formatCode="0%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EA-452D-B8F9-BB3EE6DA2C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44992687"/>
        <c:axId val="1551319407"/>
      </c:barChart>
      <c:catAx>
        <c:axId val="15449926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51319407"/>
        <c:crosses val="autoZero"/>
        <c:auto val="1"/>
        <c:lblAlgn val="ctr"/>
        <c:lblOffset val="100"/>
        <c:noMultiLvlLbl val="0"/>
      </c:catAx>
      <c:valAx>
        <c:axId val="1551319407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4992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…wouldn't cancel?</c:v>
                </c:pt>
                <c:pt idx="1">
                  <c:v>…would allow installment pmt?</c:v>
                </c:pt>
                <c:pt idx="2">
                  <c:v>…wouldn't charge late fee?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21</c:v>
                </c:pt>
                <c:pt idx="1">
                  <c:v>0.24</c:v>
                </c:pt>
                <c:pt idx="2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1E-4131-950B-4E9D464A6A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566714752"/>
        <c:axId val="554034432"/>
      </c:barChart>
      <c:catAx>
        <c:axId val="566714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4034432"/>
        <c:crosses val="autoZero"/>
        <c:auto val="1"/>
        <c:lblAlgn val="ctr"/>
        <c:lblOffset val="100"/>
        <c:noMultiLvlLbl val="0"/>
      </c:catAx>
      <c:valAx>
        <c:axId val="554034432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714752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494269468308119E-2"/>
          <c:y val="0.12369346717579736"/>
          <c:w val="0.88126913519227867"/>
          <c:h val="0.7845957725645715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les Drive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4111080521298577"/>
                  <c:y val="-0.2462807696145559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0EF-49A3-A683-ACC33DD11042}"/>
                </c:ext>
              </c:extLst>
            </c:dLbl>
            <c:dLbl>
              <c:idx val="1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0EF-49A3-A683-ACC33DD110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9</c:v>
                </c:pt>
                <c:pt idx="1">
                  <c:v>2020</c:v>
                </c:pt>
              </c:numCache>
            </c:numRef>
          </c:cat>
          <c:val>
            <c:numRef>
              <c:f>Sheet1!$B$2:$B$3</c:f>
              <c:numCache>
                <c:formatCode>0%</c:formatCode>
                <c:ptCount val="2"/>
                <c:pt idx="0">
                  <c:v>0.41</c:v>
                </c:pt>
                <c:pt idx="1">
                  <c:v>0.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0EF-49A3-A683-ACC33DD11042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Where You Driv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0.15333131488743551"/>
                  <c:y val="-1.9104476414495936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204-4481-8857-3396BE3D21AA}"/>
                </c:ext>
              </c:extLst>
            </c:dLbl>
            <c:dLbl>
              <c:idx val="1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0EF-49A3-A683-ACC33DD110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9</c:v>
                </c:pt>
                <c:pt idx="1">
                  <c:v>2020</c:v>
                </c:pt>
              </c:numCache>
            </c:numRef>
          </c:cat>
          <c:val>
            <c:numRef>
              <c:f>Sheet1!$D$2:$D$3</c:f>
              <c:numCache>
                <c:formatCode>0%</c:formatCode>
                <c:ptCount val="2"/>
                <c:pt idx="0">
                  <c:v>0.32</c:v>
                </c:pt>
                <c:pt idx="1">
                  <c:v>0.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0EF-49A3-A683-ACC33DD1104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peed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0EF-49A3-A683-ACC33DD11042}"/>
                </c:ext>
              </c:extLst>
            </c:dLbl>
            <c:dLbl>
              <c:idx val="1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0EF-49A3-A683-ACC33DD110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9</c:v>
                </c:pt>
                <c:pt idx="1">
                  <c:v>2020</c:v>
                </c:pt>
              </c:numCache>
            </c:numRef>
          </c:cat>
          <c:val>
            <c:numRef>
              <c:f>Sheet1!$E$2:$E$3</c:f>
              <c:numCache>
                <c:formatCode>0%</c:formatCode>
                <c:ptCount val="2"/>
                <c:pt idx="0">
                  <c:v>0.35</c:v>
                </c:pt>
                <c:pt idx="1">
                  <c:v>0.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0EF-49A3-A683-ACC33DD1104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Distracted Driving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21760827890394052"/>
                  <c:y val="-1.0165182887915243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0EF-49A3-A683-ACC33DD11042}"/>
                </c:ext>
              </c:extLst>
            </c:dLbl>
            <c:dLbl>
              <c:idx val="1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0EF-49A3-A683-ACC33DD110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9</c:v>
                </c:pt>
                <c:pt idx="1">
                  <c:v>2020</c:v>
                </c:pt>
              </c:numCache>
            </c:numRef>
          </c:cat>
          <c:val>
            <c:numRef>
              <c:f>Sheet1!$F$2:$F$3</c:f>
              <c:numCache>
                <c:formatCode>0%</c:formatCode>
                <c:ptCount val="2"/>
                <c:pt idx="0">
                  <c:v>0.39</c:v>
                </c:pt>
                <c:pt idx="1">
                  <c:v>0.57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0EF-49A3-A683-ACC33DD11042}"/>
            </c:ext>
          </c:extLst>
        </c:ser>
        <c:dLbls>
          <c:dLblPos val="l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544324543"/>
        <c:axId val="1548375839"/>
      </c:lineChart>
      <c:catAx>
        <c:axId val="154432454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8375839"/>
        <c:crosses val="autoZero"/>
        <c:auto val="1"/>
        <c:lblAlgn val="ctr"/>
        <c:lblOffset val="100"/>
        <c:noMultiLvlLbl val="0"/>
      </c:catAx>
      <c:valAx>
        <c:axId val="1548375839"/>
        <c:scaling>
          <c:orientation val="minMax"/>
          <c:min val="0.30000000000000004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43245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79882833173027E-2"/>
          <c:y val="3.0296543440544513E-2"/>
          <c:w val="0.96732223638614434"/>
          <c:h val="0.627092807363307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FD9-49F0-B15B-5ADBA399AC2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FD9-49F0-B15B-5ADBA399AC2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FD9-49F0-B15B-5ADBA399AC2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FD9-49F0-B15B-5ADBA399AC2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FD9-49F0-B15B-5ADBA399AC2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February</c:v>
                </c:pt>
                <c:pt idx="1">
                  <c:v>March</c:v>
                </c:pt>
                <c:pt idx="2">
                  <c:v>April</c:v>
                </c:pt>
                <c:pt idx="3">
                  <c:v>May</c:v>
                </c:pt>
                <c:pt idx="4">
                  <c:v>June</c:v>
                </c:pt>
                <c:pt idx="5">
                  <c:v>July</c:v>
                </c:pt>
                <c:pt idx="6">
                  <c:v>August</c:v>
                </c:pt>
                <c:pt idx="7">
                  <c:v>Septembe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834</c:v>
                </c:pt>
                <c:pt idx="1">
                  <c:v>7730</c:v>
                </c:pt>
                <c:pt idx="2">
                  <c:v>7610</c:v>
                </c:pt>
                <c:pt idx="3">
                  <c:v>6910</c:v>
                </c:pt>
                <c:pt idx="4">
                  <c:v>3180</c:v>
                </c:pt>
                <c:pt idx="5">
                  <c:v>5000</c:v>
                </c:pt>
                <c:pt idx="6">
                  <c:v>4210</c:v>
                </c:pt>
                <c:pt idx="7">
                  <c:v>1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FD9-49F0-B15B-5ADBA399AC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197743744"/>
        <c:axId val="197748608"/>
      </c:barChart>
      <c:catAx>
        <c:axId val="1977437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97748608"/>
        <c:crosses val="autoZero"/>
        <c:auto val="1"/>
        <c:lblAlgn val="ctr"/>
        <c:lblOffset val="100"/>
        <c:noMultiLvlLbl val="0"/>
      </c:catAx>
      <c:valAx>
        <c:axId val="19774860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977437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880723242927968"/>
          <c:y val="3.7256562235393732E-2"/>
          <c:w val="0.74833323227335868"/>
          <c:h val="0.7741236240474174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BE6-46C5-965F-E480A0C9985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D8-478C-B0C6-AEA10B28AE70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FD8-478C-B0C6-AEA10B28AE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BI</c:v>
                </c:pt>
                <c:pt idx="1">
                  <c:v>D&amp;O</c:v>
                </c:pt>
                <c:pt idx="2">
                  <c:v>EPLI</c:v>
                </c:pt>
                <c:pt idx="3">
                  <c:v>GL</c:v>
                </c:pt>
                <c:pt idx="4">
                  <c:v>Mortgage</c:v>
                </c:pt>
                <c:pt idx="5">
                  <c:v>Political risk,
credit, surety</c:v>
                </c:pt>
                <c:pt idx="6">
                  <c:v>Workers
Compensation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2</c:v>
                </c:pt>
                <c:pt idx="1">
                  <c:v>0.6</c:v>
                </c:pt>
                <c:pt idx="2">
                  <c:v>0.3</c:v>
                </c:pt>
                <c:pt idx="3">
                  <c:v>0.7</c:v>
                </c:pt>
                <c:pt idx="4">
                  <c:v>0</c:v>
                </c:pt>
                <c:pt idx="5">
                  <c:v>0</c:v>
                </c:pt>
                <c:pt idx="6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E6-46C5-965F-E480A0C998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BI</c:v>
                </c:pt>
                <c:pt idx="1">
                  <c:v>D&amp;O</c:v>
                </c:pt>
                <c:pt idx="2">
                  <c:v>EPLI</c:v>
                </c:pt>
                <c:pt idx="3">
                  <c:v>GL</c:v>
                </c:pt>
                <c:pt idx="4">
                  <c:v>Mortgage</c:v>
                </c:pt>
                <c:pt idx="5">
                  <c:v>Political risk,
credit, surety</c:v>
                </c:pt>
                <c:pt idx="6">
                  <c:v>Workers
Compensation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0.7</c:v>
                </c:pt>
                <c:pt idx="1">
                  <c:v>3.4</c:v>
                </c:pt>
                <c:pt idx="2">
                  <c:v>3.3</c:v>
                </c:pt>
                <c:pt idx="3">
                  <c:v>26.3</c:v>
                </c:pt>
                <c:pt idx="4">
                  <c:v>1.7</c:v>
                </c:pt>
                <c:pt idx="5">
                  <c:v>0.8</c:v>
                </c:pt>
                <c:pt idx="6">
                  <c:v>9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E6-46C5-965F-E480A0C998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BI</c:v>
                </c:pt>
                <c:pt idx="1">
                  <c:v>D&amp;O</c:v>
                </c:pt>
                <c:pt idx="2">
                  <c:v>EPLI</c:v>
                </c:pt>
                <c:pt idx="3">
                  <c:v>GL</c:v>
                </c:pt>
                <c:pt idx="4">
                  <c:v>Mortgage</c:v>
                </c:pt>
                <c:pt idx="5">
                  <c:v>Political risk,
credit, surety</c:v>
                </c:pt>
                <c:pt idx="6">
                  <c:v>Workers
Compensation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22.7</c:v>
                </c:pt>
                <c:pt idx="1">
                  <c:v>4</c:v>
                </c:pt>
                <c:pt idx="2">
                  <c:v>2.6</c:v>
                </c:pt>
                <c:pt idx="3">
                  <c:v>27</c:v>
                </c:pt>
                <c:pt idx="4">
                  <c:v>1.7</c:v>
                </c:pt>
                <c:pt idx="5">
                  <c:v>0.8</c:v>
                </c:pt>
                <c:pt idx="6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BE6-46C5-965F-E480A0C998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35819775"/>
        <c:axId val="1643022047"/>
      </c:barChart>
      <c:catAx>
        <c:axId val="163581977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86868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lnSpc>
                <a:spcPct val="90000"/>
              </a:lnSpc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3022047"/>
        <c:crosses val="autoZero"/>
        <c:auto val="1"/>
        <c:lblAlgn val="ctr"/>
        <c:lblOffset val="100"/>
        <c:noMultiLvlLbl val="0"/>
      </c:catAx>
      <c:valAx>
        <c:axId val="1643022047"/>
        <c:scaling>
          <c:orientation val="minMax"/>
          <c:max val="1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>
                    <a:solidFill>
                      <a:schemeClr val="tx1"/>
                    </a:solidFill>
                  </a:rPr>
                  <a:t>Billions of US$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86868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58197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76387328453447"/>
          <c:y val="0.30299519573362754"/>
          <c:w val="0.87923612671546569"/>
          <c:h val="0.4231251024181122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0-A4B2-4527-B3DC-B2C7DE8C5664}"/>
              </c:ext>
            </c:extLst>
          </c:dPt>
          <c:dPt>
            <c:idx val="1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1-A4B2-4527-B3DC-B2C7DE8C5664}"/>
              </c:ext>
            </c:extLst>
          </c:dPt>
          <c:dPt>
            <c:idx val="2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2-A4B2-4527-B3DC-B2C7DE8C5664}"/>
              </c:ext>
            </c:extLst>
          </c:dPt>
          <c:dPt>
            <c:idx val="3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3-A4B2-4527-B3DC-B2C7DE8C5664}"/>
              </c:ext>
            </c:extLst>
          </c:dPt>
          <c:dPt>
            <c:idx val="5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4-A4B2-4527-B3DC-B2C7DE8C5664}"/>
              </c:ext>
            </c:extLst>
          </c:dPt>
          <c:dPt>
            <c:idx val="8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5-A4B2-4527-B3DC-B2C7DE8C566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B$1</c:f>
              <c:strCache>
                <c:ptCount val="2"/>
                <c:pt idx="0">
                  <c:v>2019</c:v>
                </c:pt>
                <c:pt idx="1">
                  <c:v>2020</c:v>
                </c:pt>
              </c:strCache>
            </c:strRef>
          </c:cat>
          <c:val>
            <c:numRef>
              <c:f>Sheet1!$A$2:$B$2</c:f>
              <c:numCache>
                <c:formatCode>_(* #,##0.0_);_(* \(#,##0.0\);_(* "-"??_);_(@_)</c:formatCode>
                <c:ptCount val="2"/>
                <c:pt idx="0">
                  <c:v>32.799999999999997</c:v>
                </c:pt>
                <c:pt idx="1">
                  <c:v>24.9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6-A4B2-4527-B3DC-B2C7DE8C56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8501496"/>
        <c:axId val="528512472"/>
        <c:extLst/>
      </c:barChart>
      <c:catAx>
        <c:axId val="52850149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28512472"/>
        <c:crosses val="autoZero"/>
        <c:auto val="1"/>
        <c:lblAlgn val="ctr"/>
        <c:lblOffset val="20"/>
        <c:noMultiLvlLbl val="0"/>
      </c:catAx>
      <c:valAx>
        <c:axId val="52851247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sz="1200" b="1" dirty="0"/>
                  <a:t>$ billions</a:t>
                </a:r>
              </a:p>
            </c:rich>
          </c:tx>
          <c:overlay val="0"/>
        </c:title>
        <c:numFmt formatCode="#,##0" sourceLinked="0"/>
        <c:majorTickMark val="out"/>
        <c:minorTickMark val="none"/>
        <c:tickLblPos val="low"/>
        <c:txPr>
          <a:bodyPr/>
          <a:lstStyle/>
          <a:p>
            <a:pPr>
              <a:defRPr sz="1200"/>
            </a:pPr>
            <a:endParaRPr lang="en-US"/>
          </a:p>
        </c:txPr>
        <c:crossAx val="528501496"/>
        <c:crosses val="autoZero"/>
        <c:crossBetween val="between"/>
        <c:majorUnit val="20"/>
      </c:valAx>
    </c:plotArea>
    <c:plotVisOnly val="1"/>
    <c:dispBlanksAs val="gap"/>
    <c:showDLblsOverMax val="0"/>
  </c:chart>
  <c:spPr>
    <a:ln>
      <a:solidFill>
        <a:schemeClr val="accent2"/>
      </a:solidFill>
    </a:ln>
  </c:spPr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I &amp; Lawsuits</c:v>
                </c:pt>
              </c:strCache>
            </c:strRef>
          </c:tx>
          <c:marker>
            <c:symbol val="none"/>
          </c:marker>
          <c:cat>
            <c:strRef>
              <c:f>Sheet1!$B$1:$W$1</c:f>
              <c:strCache>
                <c:ptCount val="22"/>
                <c:pt idx="0">
                  <c:v>5/14-5/20</c:v>
                </c:pt>
                <c:pt idx="1">
                  <c:v>5/21-5/27</c:v>
                </c:pt>
                <c:pt idx="2">
                  <c:v>5/28-6/3</c:v>
                </c:pt>
                <c:pt idx="3">
                  <c:v>6/4-6/10</c:v>
                </c:pt>
                <c:pt idx="4">
                  <c:v>6/11-6/17</c:v>
                </c:pt>
                <c:pt idx="5">
                  <c:v>6/18-6/24</c:v>
                </c:pt>
                <c:pt idx="6">
                  <c:v>6/25-7/1</c:v>
                </c:pt>
                <c:pt idx="7">
                  <c:v>7/2-7/8</c:v>
                </c:pt>
                <c:pt idx="8">
                  <c:v>7/9-7/15</c:v>
                </c:pt>
                <c:pt idx="9">
                  <c:v>7/16-7/22</c:v>
                </c:pt>
                <c:pt idx="10">
                  <c:v>7/23-7/29</c:v>
                </c:pt>
                <c:pt idx="11">
                  <c:v>7/30-8/5</c:v>
                </c:pt>
                <c:pt idx="12">
                  <c:v>8/6-8/12</c:v>
                </c:pt>
                <c:pt idx="13">
                  <c:v>8/13-8/19</c:v>
                </c:pt>
                <c:pt idx="14">
                  <c:v>8/20-8/26</c:v>
                </c:pt>
                <c:pt idx="15">
                  <c:v>8/27-9/2</c:v>
                </c:pt>
                <c:pt idx="16">
                  <c:v>9/3-9/9</c:v>
                </c:pt>
                <c:pt idx="17">
                  <c:v>9/10-9/16</c:v>
                </c:pt>
                <c:pt idx="18">
                  <c:v>9/17-9/23</c:v>
                </c:pt>
                <c:pt idx="19">
                  <c:v>9/24-9/30</c:v>
                </c:pt>
                <c:pt idx="20">
                  <c:v>10/1-10/7</c:v>
                </c:pt>
                <c:pt idx="21">
                  <c:v>10/8-10/14</c:v>
                </c:pt>
              </c:strCache>
            </c:strRef>
          </c:cat>
          <c:val>
            <c:numRef>
              <c:f>Sheet1!$B$2:$W$2</c:f>
              <c:numCache>
                <c:formatCode>General</c:formatCode>
                <c:ptCount val="22"/>
                <c:pt idx="0">
                  <c:v>588</c:v>
                </c:pt>
                <c:pt idx="1">
                  <c:v>353</c:v>
                </c:pt>
                <c:pt idx="2">
                  <c:v>758</c:v>
                </c:pt>
                <c:pt idx="3">
                  <c:v>298</c:v>
                </c:pt>
                <c:pt idx="4">
                  <c:v>292</c:v>
                </c:pt>
                <c:pt idx="5">
                  <c:v>317</c:v>
                </c:pt>
                <c:pt idx="6">
                  <c:v>262</c:v>
                </c:pt>
                <c:pt idx="7">
                  <c:v>328</c:v>
                </c:pt>
                <c:pt idx="8">
                  <c:v>609</c:v>
                </c:pt>
                <c:pt idx="9">
                  <c:v>256</c:v>
                </c:pt>
                <c:pt idx="10">
                  <c:v>1500</c:v>
                </c:pt>
                <c:pt idx="11">
                  <c:v>1300</c:v>
                </c:pt>
                <c:pt idx="12">
                  <c:v>752</c:v>
                </c:pt>
                <c:pt idx="13">
                  <c:v>701</c:v>
                </c:pt>
                <c:pt idx="14">
                  <c:v>301</c:v>
                </c:pt>
                <c:pt idx="15">
                  <c:v>367</c:v>
                </c:pt>
                <c:pt idx="16">
                  <c:v>230</c:v>
                </c:pt>
                <c:pt idx="17">
                  <c:v>665</c:v>
                </c:pt>
                <c:pt idx="18">
                  <c:v>183</c:v>
                </c:pt>
                <c:pt idx="19">
                  <c:v>60</c:v>
                </c:pt>
                <c:pt idx="20">
                  <c:v>297</c:v>
                </c:pt>
                <c:pt idx="21">
                  <c:v>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FA5-4341-9C2B-333039EE2EE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BI &amp; Federal Action</c:v>
                </c:pt>
              </c:strCache>
            </c:strRef>
          </c:tx>
          <c:marker>
            <c:symbol val="none"/>
          </c:marker>
          <c:cat>
            <c:strRef>
              <c:f>Sheet1!$B$1:$W$1</c:f>
              <c:strCache>
                <c:ptCount val="22"/>
                <c:pt idx="0">
                  <c:v>5/14-5/20</c:v>
                </c:pt>
                <c:pt idx="1">
                  <c:v>5/21-5/27</c:v>
                </c:pt>
                <c:pt idx="2">
                  <c:v>5/28-6/3</c:v>
                </c:pt>
                <c:pt idx="3">
                  <c:v>6/4-6/10</c:v>
                </c:pt>
                <c:pt idx="4">
                  <c:v>6/11-6/17</c:v>
                </c:pt>
                <c:pt idx="5">
                  <c:v>6/18-6/24</c:v>
                </c:pt>
                <c:pt idx="6">
                  <c:v>6/25-7/1</c:v>
                </c:pt>
                <c:pt idx="7">
                  <c:v>7/2-7/8</c:v>
                </c:pt>
                <c:pt idx="8">
                  <c:v>7/9-7/15</c:v>
                </c:pt>
                <c:pt idx="9">
                  <c:v>7/16-7/22</c:v>
                </c:pt>
                <c:pt idx="10">
                  <c:v>7/23-7/29</c:v>
                </c:pt>
                <c:pt idx="11">
                  <c:v>7/30-8/5</c:v>
                </c:pt>
                <c:pt idx="12">
                  <c:v>8/6-8/12</c:v>
                </c:pt>
                <c:pt idx="13">
                  <c:v>8/13-8/19</c:v>
                </c:pt>
                <c:pt idx="14">
                  <c:v>8/20-8/26</c:v>
                </c:pt>
                <c:pt idx="15">
                  <c:v>8/27-9/2</c:v>
                </c:pt>
                <c:pt idx="16">
                  <c:v>9/3-9/9</c:v>
                </c:pt>
                <c:pt idx="17">
                  <c:v>9/10-9/16</c:v>
                </c:pt>
                <c:pt idx="18">
                  <c:v>9/17-9/23</c:v>
                </c:pt>
                <c:pt idx="19">
                  <c:v>9/24-9/30</c:v>
                </c:pt>
                <c:pt idx="20">
                  <c:v>10/1-10/7</c:v>
                </c:pt>
                <c:pt idx="21">
                  <c:v>10/8-10/14</c:v>
                </c:pt>
              </c:strCache>
            </c:strRef>
          </c:cat>
          <c:val>
            <c:numRef>
              <c:f>Sheet1!$B$3:$W$3</c:f>
              <c:numCache>
                <c:formatCode>General</c:formatCode>
                <c:ptCount val="22"/>
                <c:pt idx="0">
                  <c:v>1080</c:v>
                </c:pt>
                <c:pt idx="1">
                  <c:v>804</c:v>
                </c:pt>
                <c:pt idx="2">
                  <c:v>1140</c:v>
                </c:pt>
                <c:pt idx="3">
                  <c:v>614</c:v>
                </c:pt>
                <c:pt idx="4">
                  <c:v>431</c:v>
                </c:pt>
                <c:pt idx="5">
                  <c:v>366</c:v>
                </c:pt>
                <c:pt idx="6">
                  <c:v>335</c:v>
                </c:pt>
                <c:pt idx="7">
                  <c:v>631</c:v>
                </c:pt>
                <c:pt idx="8">
                  <c:v>542</c:v>
                </c:pt>
                <c:pt idx="9">
                  <c:v>241</c:v>
                </c:pt>
                <c:pt idx="10">
                  <c:v>1540</c:v>
                </c:pt>
                <c:pt idx="11">
                  <c:v>1520</c:v>
                </c:pt>
                <c:pt idx="12">
                  <c:v>1430</c:v>
                </c:pt>
                <c:pt idx="13">
                  <c:v>566</c:v>
                </c:pt>
                <c:pt idx="14">
                  <c:v>535</c:v>
                </c:pt>
                <c:pt idx="15">
                  <c:v>586</c:v>
                </c:pt>
                <c:pt idx="16">
                  <c:v>437</c:v>
                </c:pt>
                <c:pt idx="17">
                  <c:v>457</c:v>
                </c:pt>
                <c:pt idx="18">
                  <c:v>349</c:v>
                </c:pt>
                <c:pt idx="19">
                  <c:v>329</c:v>
                </c:pt>
                <c:pt idx="20">
                  <c:v>492</c:v>
                </c:pt>
                <c:pt idx="21">
                  <c:v>3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FA5-4341-9C2B-333039EE2E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8200704"/>
        <c:axId val="198210688"/>
      </c:lineChart>
      <c:catAx>
        <c:axId val="1982007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8210688"/>
        <c:crosses val="autoZero"/>
        <c:auto val="1"/>
        <c:lblAlgn val="ctr"/>
        <c:lblOffset val="100"/>
        <c:noMultiLvlLbl val="0"/>
      </c:catAx>
      <c:valAx>
        <c:axId val="198210688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8200704"/>
        <c:crosses val="autoZero"/>
        <c:crossBetween val="midCat"/>
      </c:valAx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44116267557066"/>
          <c:y val="6.9510268562401265E-2"/>
          <c:w val="0.71840053311893837"/>
          <c:h val="0.59885157963445801"/>
        </c:manualLayout>
      </c:layout>
      <c:barChart>
        <c:barDir val="col"/>
        <c:grouping val="stacked"/>
        <c:varyColors val="0"/>
        <c:ser>
          <c:idx val="0"/>
          <c:order val="0"/>
          <c:tx>
            <c:v>Combined Ratio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5D4-45EF-82F3-0237C7A6936E}"/>
              </c:ext>
            </c:extLst>
          </c:dPt>
          <c:dLbls>
            <c:dLbl>
              <c:idx val="4"/>
              <c:layout>
                <c:manualLayout>
                  <c:x val="0"/>
                  <c:y val="-0.24412294929615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B37-4CFF-990D-FB76F7BA7A81}"/>
                </c:ext>
              </c:extLst>
            </c:dLbl>
            <c:dLbl>
              <c:idx val="5"/>
              <c:layout>
                <c:manualLayout>
                  <c:x val="0"/>
                  <c:y val="-0.2717688579446042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D4-45EF-82F3-0237C7A6936E}"/>
                </c:ext>
              </c:extLst>
            </c:dLbl>
            <c:dLbl>
              <c:idx val="6"/>
              <c:layout>
                <c:manualLayout>
                  <c:x val="1.111902695787755E-2"/>
                  <c:y val="-0.1680613858401161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2898576573435046E-2"/>
                      <c:h val="0.1200508922584090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B2E9-4326-82F4-D0FE344340C1}"/>
                </c:ext>
              </c:extLst>
            </c:dLbl>
            <c:dLbl>
              <c:idx val="7"/>
              <c:layout>
                <c:manualLayout>
                  <c:x val="9.5305766674913268E-3"/>
                  <c:y val="-0.1694444220434692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354843034845595"/>
                      <c:h val="0.1272256833451920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B2E9-4326-82F4-D0FE344340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ummaries!$P$29:$W$29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E</c:v>
                </c:pt>
                <c:pt idx="6">
                  <c:v>2021 F</c:v>
                </c:pt>
                <c:pt idx="7">
                  <c:v>2022 F</c:v>
                </c:pt>
              </c:strCache>
            </c:strRef>
          </c:cat>
          <c:val>
            <c:numRef>
              <c:f>Summaries!$P$31:$W$31</c:f>
              <c:numCache>
                <c:formatCode>0%</c:formatCode>
                <c:ptCount val="8"/>
                <c:pt idx="0">
                  <c:v>0.97748050718703894</c:v>
                </c:pt>
                <c:pt idx="1">
                  <c:v>1.0060211515773043</c:v>
                </c:pt>
                <c:pt idx="2">
                  <c:v>1.0362965154734971</c:v>
                </c:pt>
                <c:pt idx="3">
                  <c:v>0.99096673736560281</c:v>
                </c:pt>
                <c:pt idx="4">
                  <c:v>0.98801202146383993</c:v>
                </c:pt>
                <c:pt idx="5">
                  <c:v>1.0169999999999999</c:v>
                </c:pt>
                <c:pt idx="6">
                  <c:v>0.98499999999999999</c:v>
                </c:pt>
                <c:pt idx="7">
                  <c:v>0.98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D4-45EF-82F3-0237C7A693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4415456"/>
        <c:axId val="94421280"/>
      </c:barChart>
      <c:lineChart>
        <c:grouping val="standard"/>
        <c:varyColors val="0"/>
        <c:ser>
          <c:idx val="3"/>
          <c:order val="1"/>
          <c:tx>
            <c:v>DWP Growth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chemeClr val="accent3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05D4-45EF-82F3-0237C7A6936E}"/>
              </c:ext>
            </c:extLst>
          </c:dPt>
          <c:cat>
            <c:strRef>
              <c:f>Summaries!$P$7:$W$7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E</c:v>
                </c:pt>
                <c:pt idx="6">
                  <c:v>2021 F</c:v>
                </c:pt>
                <c:pt idx="7">
                  <c:v>2022 F</c:v>
                </c:pt>
              </c:strCache>
            </c:strRef>
          </c:cat>
          <c:val>
            <c:numRef>
              <c:f>Summaries!$AN$9:$AU$9</c:f>
              <c:numCache>
                <c:formatCode>0%</c:formatCode>
                <c:ptCount val="8"/>
                <c:pt idx="0">
                  <c:v>3.8100000000000002E-2</c:v>
                </c:pt>
                <c:pt idx="1">
                  <c:v>3.85E-2</c:v>
                </c:pt>
                <c:pt idx="2">
                  <c:v>4.8399999999999999E-2</c:v>
                </c:pt>
                <c:pt idx="3">
                  <c:v>5.57E-2</c:v>
                </c:pt>
                <c:pt idx="4">
                  <c:v>5.1499999999999997E-2</c:v>
                </c:pt>
                <c:pt idx="5">
                  <c:v>1.7999999999999999E-2</c:v>
                </c:pt>
                <c:pt idx="6">
                  <c:v>6.0299999999999999E-2</c:v>
                </c:pt>
                <c:pt idx="7">
                  <c:v>5.68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05D4-45EF-82F3-0237C7A6936E}"/>
            </c:ext>
          </c:extLst>
        </c:ser>
        <c:ser>
          <c:idx val="2"/>
          <c:order val="2"/>
          <c:tx>
            <c:v>NWP Growth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chemeClr val="accent2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05D4-45EF-82F3-0237C7A6936E}"/>
              </c:ext>
            </c:extLst>
          </c:dPt>
          <c:dLbls>
            <c:dLbl>
              <c:idx val="5"/>
              <c:layout>
                <c:manualLayout>
                  <c:x val="-5.229428505603477E-2"/>
                  <c:y val="-2.4925358227778215E-2"/>
                </c:manualLayout>
              </c:layout>
              <c:spPr>
                <a:solidFill>
                  <a:schemeClr val="accent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4783204051823999E-2"/>
                      <c:h val="0.1200508922584090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05D4-45EF-82F3-0237C7A6936E}"/>
                </c:ext>
              </c:extLst>
            </c:dLbl>
            <c:dLbl>
              <c:idx val="6"/>
              <c:layout>
                <c:manualLayout>
                  <c:x val="-4.0380907878138216E-2"/>
                  <c:y val="-0.176089447300396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2E9-4326-82F4-D0FE344340C1}"/>
                </c:ext>
              </c:extLst>
            </c:dLbl>
            <c:dLbl>
              <c:idx val="7"/>
              <c:layout>
                <c:manualLayout>
                  <c:x val="-4.3557808458910545E-2"/>
                  <c:y val="-0.1904390294739624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E9-4326-82F4-D0FE344340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ummaries!$P$7:$W$7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E</c:v>
                </c:pt>
                <c:pt idx="6">
                  <c:v>2021 F</c:v>
                </c:pt>
                <c:pt idx="7">
                  <c:v>2022 F</c:v>
                </c:pt>
              </c:strCache>
            </c:strRef>
          </c:cat>
          <c:val>
            <c:numRef>
              <c:f>Summaries!$P$9:$W$9</c:f>
              <c:numCache>
                <c:formatCode>0%</c:formatCode>
                <c:ptCount val="8"/>
                <c:pt idx="0">
                  <c:v>3.4757955102466154E-2</c:v>
                </c:pt>
                <c:pt idx="1">
                  <c:v>2.6338740685499573E-2</c:v>
                </c:pt>
                <c:pt idx="2">
                  <c:v>4.5739009809072195E-2</c:v>
                </c:pt>
                <c:pt idx="3">
                  <c:v>0.1071177626470281</c:v>
                </c:pt>
                <c:pt idx="4">
                  <c:v>3.4344614136679698E-2</c:v>
                </c:pt>
                <c:pt idx="5">
                  <c:v>1.4999999999999999E-2</c:v>
                </c:pt>
                <c:pt idx="6">
                  <c:v>5.8999999999999997E-2</c:v>
                </c:pt>
                <c:pt idx="7">
                  <c:v>5.6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05D4-45EF-82F3-0237C7A693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84637471"/>
        <c:axId val="579619439"/>
      </c:lineChart>
      <c:catAx>
        <c:axId val="94415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86868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4421280"/>
        <c:crosses val="autoZero"/>
        <c:auto val="1"/>
        <c:lblAlgn val="ctr"/>
        <c:lblOffset val="100"/>
        <c:noMultiLvlLbl val="0"/>
      </c:catAx>
      <c:valAx>
        <c:axId val="9442128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000" b="1" dirty="0"/>
                  <a:t>Combined Rati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solidFill>
              <a:srgbClr val="86868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4415456"/>
        <c:crosses val="autoZero"/>
        <c:crossBetween val="between"/>
        <c:majorUnit val="4.0000000000000008E-2"/>
      </c:valAx>
      <c:valAx>
        <c:axId val="57961943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000" b="1" dirty="0"/>
                  <a:t>Premium Grow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1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solidFill>
              <a:srgbClr val="86868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84637471"/>
        <c:crosses val="max"/>
        <c:crossBetween val="between"/>
      </c:valAx>
      <c:catAx>
        <c:axId val="138463747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79619439"/>
        <c:crosses val="autoZero"/>
        <c:auto val="1"/>
        <c:lblAlgn val="ctr"/>
        <c:lblOffset val="100"/>
        <c:noMultiLvlLbl val="0"/>
      </c:catAx>
      <c:spPr>
        <a:solidFill>
          <a:schemeClr val="bg2"/>
        </a:solidFill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ayout>
        <c:manualLayout>
          <c:xMode val="edge"/>
          <c:yMode val="edge"/>
          <c:x val="0"/>
          <c:y val="0.86266267261116292"/>
          <c:w val="0.9933977455716585"/>
          <c:h val="0.111296538169695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5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844411579700473"/>
          <c:y val="4.2069294656195376E-2"/>
          <c:w val="0.83189837020952284"/>
          <c:h val="0.6179811172892488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% Change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dLbls>
            <c:dLbl>
              <c:idx val="66"/>
              <c:layout>
                <c:manualLayout>
                  <c:x val="-2.4005310655184184E-3"/>
                  <c:y val="-6.993569812855292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.3%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27C-4F47-A695-E3ACFF0BD9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L$1:$BZ$1</c:f>
              <c:strCache>
                <c:ptCount val="67"/>
                <c:pt idx="0">
                  <c:v>2004:Q1</c:v>
                </c:pt>
                <c:pt idx="1">
                  <c:v>2004:Q2</c:v>
                </c:pt>
                <c:pt idx="2">
                  <c:v>2004:Q3</c:v>
                </c:pt>
                <c:pt idx="3">
                  <c:v>2004:Q4</c:v>
                </c:pt>
                <c:pt idx="4">
                  <c:v>2005:Q1</c:v>
                </c:pt>
                <c:pt idx="5">
                  <c:v>2005:Q2</c:v>
                </c:pt>
                <c:pt idx="6">
                  <c:v>2005:Q3</c:v>
                </c:pt>
                <c:pt idx="7">
                  <c:v>2005:Q4</c:v>
                </c:pt>
                <c:pt idx="8">
                  <c:v>2006:Q1</c:v>
                </c:pt>
                <c:pt idx="9">
                  <c:v>2006:Q2</c:v>
                </c:pt>
                <c:pt idx="10">
                  <c:v>2006:Q3</c:v>
                </c:pt>
                <c:pt idx="11">
                  <c:v>2006:Q4</c:v>
                </c:pt>
                <c:pt idx="12">
                  <c:v>2007:Q1</c:v>
                </c:pt>
                <c:pt idx="13">
                  <c:v>2007:Q2</c:v>
                </c:pt>
                <c:pt idx="14">
                  <c:v>2007:Q3</c:v>
                </c:pt>
                <c:pt idx="15">
                  <c:v>2007:Q4</c:v>
                </c:pt>
                <c:pt idx="16">
                  <c:v>2008:Q1</c:v>
                </c:pt>
                <c:pt idx="17">
                  <c:v>2008:Q2</c:v>
                </c:pt>
                <c:pt idx="18">
                  <c:v>2008:Q3</c:v>
                </c:pt>
                <c:pt idx="19">
                  <c:v>2008:Q4</c:v>
                </c:pt>
                <c:pt idx="20">
                  <c:v>2009:Q1</c:v>
                </c:pt>
                <c:pt idx="21">
                  <c:v>2009:Q2</c:v>
                </c:pt>
                <c:pt idx="22">
                  <c:v>2009:Q3</c:v>
                </c:pt>
                <c:pt idx="23">
                  <c:v>2009:Q4</c:v>
                </c:pt>
                <c:pt idx="24">
                  <c:v>2010:Q1</c:v>
                </c:pt>
                <c:pt idx="25">
                  <c:v>2010:Q2</c:v>
                </c:pt>
                <c:pt idx="26">
                  <c:v>2010:Q3</c:v>
                </c:pt>
                <c:pt idx="27">
                  <c:v>2010:Q4</c:v>
                </c:pt>
                <c:pt idx="28">
                  <c:v>2011:Q1</c:v>
                </c:pt>
                <c:pt idx="29">
                  <c:v>2011:Q2</c:v>
                </c:pt>
                <c:pt idx="30">
                  <c:v>2011:Q3</c:v>
                </c:pt>
                <c:pt idx="31">
                  <c:v>2011:Q4</c:v>
                </c:pt>
                <c:pt idx="32">
                  <c:v>2012:Q1</c:v>
                </c:pt>
                <c:pt idx="33">
                  <c:v>2012:Q2</c:v>
                </c:pt>
                <c:pt idx="34">
                  <c:v>2012:Q3</c:v>
                </c:pt>
                <c:pt idx="35">
                  <c:v>2012:Q4</c:v>
                </c:pt>
                <c:pt idx="36">
                  <c:v>2013:Q1</c:v>
                </c:pt>
                <c:pt idx="37">
                  <c:v>2013:Q2</c:v>
                </c:pt>
                <c:pt idx="38">
                  <c:v>2013:Q3</c:v>
                </c:pt>
                <c:pt idx="39">
                  <c:v>2013:Q4</c:v>
                </c:pt>
                <c:pt idx="40">
                  <c:v>2014:Q1</c:v>
                </c:pt>
                <c:pt idx="41">
                  <c:v>2014:Q2</c:v>
                </c:pt>
                <c:pt idx="42">
                  <c:v>2014:Q3</c:v>
                </c:pt>
                <c:pt idx="43">
                  <c:v>2014:Q4</c:v>
                </c:pt>
                <c:pt idx="44">
                  <c:v>2015:Q1</c:v>
                </c:pt>
                <c:pt idx="45">
                  <c:v>2015:Q2</c:v>
                </c:pt>
                <c:pt idx="46">
                  <c:v>2015:Q3</c:v>
                </c:pt>
                <c:pt idx="47">
                  <c:v>2015:Q4</c:v>
                </c:pt>
                <c:pt idx="48">
                  <c:v>2016:Q1</c:v>
                </c:pt>
                <c:pt idx="49">
                  <c:v>2016:Q2</c:v>
                </c:pt>
                <c:pt idx="50">
                  <c:v>2016:Q3</c:v>
                </c:pt>
                <c:pt idx="51">
                  <c:v>2016:Q4</c:v>
                </c:pt>
                <c:pt idx="52">
                  <c:v>2017:Q1</c:v>
                </c:pt>
                <c:pt idx="53">
                  <c:v>2017:Q2</c:v>
                </c:pt>
                <c:pt idx="54">
                  <c:v>2017:Q3</c:v>
                </c:pt>
                <c:pt idx="55">
                  <c:v>2017:Q4</c:v>
                </c:pt>
                <c:pt idx="56">
                  <c:v>2018:Q1</c:v>
                </c:pt>
                <c:pt idx="57">
                  <c:v>2018:Q2</c:v>
                </c:pt>
                <c:pt idx="58">
                  <c:v>2018:Q3</c:v>
                </c:pt>
                <c:pt idx="59">
                  <c:v>2018:Q4</c:v>
                </c:pt>
                <c:pt idx="60">
                  <c:v>2019:Q1</c:v>
                </c:pt>
                <c:pt idx="61">
                  <c:v>2019:Q2</c:v>
                </c:pt>
                <c:pt idx="62">
                  <c:v>2019:Q3</c:v>
                </c:pt>
                <c:pt idx="63">
                  <c:v>2019:Q4</c:v>
                </c:pt>
                <c:pt idx="64">
                  <c:v>2020:Q1</c:v>
                </c:pt>
                <c:pt idx="65">
                  <c:v>2020:Q2</c:v>
                </c:pt>
                <c:pt idx="66">
                  <c:v>2020:Q3</c:v>
                </c:pt>
              </c:strCache>
            </c:strRef>
          </c:cat>
          <c:val>
            <c:numRef>
              <c:f>Sheet1!$L$2:$BZ$2</c:f>
              <c:numCache>
                <c:formatCode>0%</c:formatCode>
                <c:ptCount val="67"/>
                <c:pt idx="0">
                  <c:v>0.09</c:v>
                </c:pt>
                <c:pt idx="1">
                  <c:v>7.0000000000000007E-2</c:v>
                </c:pt>
                <c:pt idx="2">
                  <c:v>0.04</c:v>
                </c:pt>
                <c:pt idx="3">
                  <c:v>0.02</c:v>
                </c:pt>
                <c:pt idx="4">
                  <c:v>-0.01</c:v>
                </c:pt>
                <c:pt idx="5">
                  <c:v>-0.03</c:v>
                </c:pt>
                <c:pt idx="6">
                  <c:v>-0.05</c:v>
                </c:pt>
                <c:pt idx="7">
                  <c:v>-0.06</c:v>
                </c:pt>
                <c:pt idx="8">
                  <c:v>-0.06</c:v>
                </c:pt>
                <c:pt idx="9">
                  <c:v>-7.0000000000000007E-2</c:v>
                </c:pt>
                <c:pt idx="10">
                  <c:v>-0.08</c:v>
                </c:pt>
                <c:pt idx="11">
                  <c:v>-0.08</c:v>
                </c:pt>
                <c:pt idx="12">
                  <c:v>-0.12</c:v>
                </c:pt>
                <c:pt idx="13">
                  <c:v>-0.14000000000000001</c:v>
                </c:pt>
                <c:pt idx="14">
                  <c:v>-0.15</c:v>
                </c:pt>
                <c:pt idx="15">
                  <c:v>-0.16</c:v>
                </c:pt>
                <c:pt idx="16">
                  <c:v>-0.12</c:v>
                </c:pt>
                <c:pt idx="17">
                  <c:v>-0.11</c:v>
                </c:pt>
                <c:pt idx="18">
                  <c:v>-0.1</c:v>
                </c:pt>
                <c:pt idx="19">
                  <c:v>-0.09</c:v>
                </c:pt>
                <c:pt idx="20">
                  <c:v>-7.0000000000000007E-2</c:v>
                </c:pt>
                <c:pt idx="21">
                  <c:v>-0.06</c:v>
                </c:pt>
                <c:pt idx="22">
                  <c:v>-0.04</c:v>
                </c:pt>
                <c:pt idx="23">
                  <c:v>-0.04</c:v>
                </c:pt>
                <c:pt idx="24">
                  <c:v>-0.04</c:v>
                </c:pt>
                <c:pt idx="25">
                  <c:v>-0.03</c:v>
                </c:pt>
                <c:pt idx="26">
                  <c:v>-0.04</c:v>
                </c:pt>
                <c:pt idx="27">
                  <c:v>-0.05</c:v>
                </c:pt>
                <c:pt idx="28">
                  <c:v>-0.04</c:v>
                </c:pt>
                <c:pt idx="29">
                  <c:v>-0.03</c:v>
                </c:pt>
                <c:pt idx="30">
                  <c:v>0</c:v>
                </c:pt>
                <c:pt idx="31">
                  <c:v>0.01</c:v>
                </c:pt>
                <c:pt idx="32">
                  <c:v>0.03</c:v>
                </c:pt>
                <c:pt idx="33">
                  <c:v>0.04</c:v>
                </c:pt>
                <c:pt idx="34">
                  <c:v>0.05</c:v>
                </c:pt>
                <c:pt idx="35">
                  <c:v>0.05</c:v>
                </c:pt>
                <c:pt idx="36">
                  <c:v>0.05</c:v>
                </c:pt>
                <c:pt idx="37">
                  <c:v>0.05</c:v>
                </c:pt>
                <c:pt idx="38">
                  <c:v>0.05</c:v>
                </c:pt>
                <c:pt idx="39">
                  <c:v>0.03</c:v>
                </c:pt>
                <c:pt idx="40">
                  <c:v>0.03</c:v>
                </c:pt>
                <c:pt idx="41">
                  <c:v>0.02</c:v>
                </c:pt>
                <c:pt idx="42">
                  <c:v>0.02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-0.01</c:v>
                </c:pt>
                <c:pt idx="47">
                  <c:v>-0.04</c:v>
                </c:pt>
                <c:pt idx="48">
                  <c:v>-0.03</c:v>
                </c:pt>
                <c:pt idx="49">
                  <c:v>-0.01</c:v>
                </c:pt>
                <c:pt idx="50">
                  <c:v>-0.01</c:v>
                </c:pt>
                <c:pt idx="51">
                  <c:v>-0.01</c:v>
                </c:pt>
                <c:pt idx="52">
                  <c:v>0.01</c:v>
                </c:pt>
                <c:pt idx="53">
                  <c:v>0.01</c:v>
                </c:pt>
                <c:pt idx="54" formatCode="0.00%">
                  <c:v>0.01</c:v>
                </c:pt>
                <c:pt idx="55">
                  <c:v>0.02</c:v>
                </c:pt>
                <c:pt idx="56">
                  <c:v>0.02</c:v>
                </c:pt>
                <c:pt idx="57" formatCode="0.0%">
                  <c:v>2.5000000000000001E-2</c:v>
                </c:pt>
                <c:pt idx="58" formatCode="0.0%">
                  <c:v>2.5000000000000001E-2</c:v>
                </c:pt>
                <c:pt idx="59">
                  <c:v>0.02</c:v>
                </c:pt>
                <c:pt idx="60">
                  <c:v>0.02</c:v>
                </c:pt>
                <c:pt idx="61">
                  <c:v>0.03</c:v>
                </c:pt>
                <c:pt idx="62">
                  <c:v>0.04</c:v>
                </c:pt>
                <c:pt idx="63">
                  <c:v>0.02</c:v>
                </c:pt>
                <c:pt idx="64" formatCode="0.0%">
                  <c:v>4.4999999999999998E-2</c:v>
                </c:pt>
                <c:pt idx="65" formatCode="0.0%">
                  <c:v>4.8000000000000001E-2</c:v>
                </c:pt>
                <c:pt idx="66">
                  <c:v>6.2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A50-C049-A65B-DE180F4A82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6598280"/>
        <c:axId val="226602200"/>
      </c:lineChart>
      <c:catAx>
        <c:axId val="226598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>
            <a:solidFill>
              <a:srgbClr val="868686">
                <a:alpha val="99000"/>
              </a:srgbClr>
            </a:solidFill>
          </a:ln>
        </c:spPr>
        <c:txPr>
          <a:bodyPr rot="-5400000" vert="horz"/>
          <a:lstStyle/>
          <a:p>
            <a:pPr>
              <a:defRPr/>
            </a:pPr>
            <a:endParaRPr lang="en-US"/>
          </a:p>
        </c:txPr>
        <c:crossAx val="226602200"/>
        <c:crosses val="autoZero"/>
        <c:auto val="1"/>
        <c:lblAlgn val="ctr"/>
        <c:lblOffset val="200"/>
        <c:tickMarkSkip val="1"/>
        <c:noMultiLvlLbl val="0"/>
      </c:catAx>
      <c:valAx>
        <c:axId val="226602200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% Chg from Yr Prior</a:t>
                </a:r>
              </a:p>
            </c:rich>
          </c:tx>
          <c:layout>
            <c:manualLayout>
              <c:xMode val="edge"/>
              <c:yMode val="edge"/>
              <c:x val="1.6803717458627698E-2"/>
              <c:y val="1.8163796097833734E-2"/>
            </c:manualLayout>
          </c:layout>
          <c:overlay val="0"/>
        </c:title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226598280"/>
        <c:crosses val="autoZero"/>
        <c:crossBetween val="between"/>
        <c:majorUnit val="0.1"/>
      </c:valAx>
      <c:spPr>
        <a:solidFill>
          <a:schemeClr val="bg2"/>
        </a:solidFill>
      </c:spPr>
    </c:plotArea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86037065536555"/>
          <c:y val="0.12635434597820022"/>
          <c:w val="0.85443814052133704"/>
          <c:h val="0.58524671341079704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% Change
 in GDP YoY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DD4-4119-B057-4F3236BEDDF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DD4-4119-B057-4F3236BEDDF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DD4-4119-B057-4F3236BEDDF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DD4-4119-B057-4F3236BEDDFC}"/>
                </c:ext>
              </c:extLst>
            </c:dLbl>
            <c:dLbl>
              <c:idx val="4"/>
              <c:layout>
                <c:manualLayout>
                  <c:x val="-3.0215938294262308E-3"/>
                  <c:y val="-2.11232495544933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B6D-4DA2-9F4D-8E1C5367F3FB}"/>
                </c:ext>
              </c:extLst>
            </c:dLbl>
            <c:dLbl>
              <c:idx val="5"/>
              <c:layout>
                <c:manualLayout>
                  <c:x val="-0.10835931908401331"/>
                  <c:y val="2.52241194650123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858647923342252"/>
                      <c:h val="0.1003601481915111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B6D-4DA2-9F4D-8E1C5367F3FB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H$1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E</c:v>
                </c:pt>
                <c:pt idx="5">
                  <c:v>2021F</c:v>
                </c:pt>
                <c:pt idx="6">
                  <c:v>2022F</c:v>
                </c:pt>
              </c:strCache>
            </c:strRef>
          </c:cat>
          <c:val>
            <c:numRef>
              <c:f>Sheet1!$B$2:$H$2</c:f>
              <c:numCache>
                <c:formatCode>0.0%</c:formatCode>
                <c:ptCount val="7"/>
                <c:pt idx="0">
                  <c:v>2.7E-2</c:v>
                </c:pt>
                <c:pt idx="1">
                  <c:v>4.2999999999999997E-2</c:v>
                </c:pt>
                <c:pt idx="2">
                  <c:v>5.3999999999999999E-2</c:v>
                </c:pt>
                <c:pt idx="3">
                  <c:v>4.1000000000000002E-2</c:v>
                </c:pt>
                <c:pt idx="4">
                  <c:v>-3.6999999999999998E-2</c:v>
                </c:pt>
                <c:pt idx="5" formatCode="0.00%">
                  <c:v>0.04</c:v>
                </c:pt>
                <c:pt idx="6" formatCode="0.00%">
                  <c:v>4.5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B6D-4DA2-9F4D-8E1C5367F3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6598280"/>
        <c:axId val="226602200"/>
      </c:lineChart>
      <c:catAx>
        <c:axId val="226598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/>
            </a:pPr>
            <a:endParaRPr lang="en-US"/>
          </a:p>
        </c:txPr>
        <c:crossAx val="226602200"/>
        <c:crosses val="autoZero"/>
        <c:auto val="1"/>
        <c:lblAlgn val="ctr"/>
        <c:lblOffset val="200"/>
        <c:tickMarkSkip val="1"/>
        <c:noMultiLvlLbl val="0"/>
      </c:catAx>
      <c:valAx>
        <c:axId val="226602200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% Chg from Yr Prior</a:t>
                </a:r>
              </a:p>
            </c:rich>
          </c:tx>
          <c:layout>
            <c:manualLayout>
              <c:xMode val="edge"/>
              <c:yMode val="edge"/>
              <c:x val="8.3711377305111159E-3"/>
              <c:y val="4.9667119191429202E-2"/>
            </c:manualLayout>
          </c:layout>
          <c:overlay val="0"/>
        </c:title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226598280"/>
        <c:crosses val="autoZero"/>
        <c:crossBetween val="between"/>
        <c:majorUnit val="3.0000000000000006E-2"/>
      </c:valAx>
      <c:spPr>
        <a:solidFill>
          <a:schemeClr val="bg2"/>
        </a:solidFill>
      </c:spPr>
    </c:plotArea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11432860298107"/>
          <c:y val="3.4766292941986833E-2"/>
          <c:w val="0.87717749873884598"/>
          <c:h val="0.83679604162953203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Sheet1!$A$3</c:f>
              <c:strCache>
                <c:ptCount val="1"/>
                <c:pt idx="0">
                  <c:v>HO/FO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A36-4B1F-8EB3-A35911AAD6DB}"/>
                </c:ext>
              </c:extLst>
            </c:dLbl>
            <c:dLbl>
              <c:idx val="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A36-4B1F-8EB3-A35911AAD6DB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A36-4B1F-8EB3-A35911AAD6DB}"/>
                </c:ext>
              </c:extLst>
            </c:dLbl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5FB-4EF0-B303-F053C24384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L$1</c:f>
              <c:strCach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*</c:v>
                </c:pt>
              </c:strCache>
            </c:strRef>
          </c:cat>
          <c:val>
            <c:numRef>
              <c:f>Sheet1!$B$3:$L$3</c:f>
              <c:numCache>
                <c:formatCode>0.0%</c:formatCode>
                <c:ptCount val="11"/>
                <c:pt idx="0">
                  <c:v>5.1057818917285669E-2</c:v>
                </c:pt>
                <c:pt idx="1">
                  <c:v>3.8747704005527739E-2</c:v>
                </c:pt>
                <c:pt idx="2">
                  <c:v>5.5941597976109314E-2</c:v>
                </c:pt>
                <c:pt idx="3">
                  <c:v>4.289002383181173E-2</c:v>
                </c:pt>
                <c:pt idx="4">
                  <c:v>5.9231470600088709E-2</c:v>
                </c:pt>
                <c:pt idx="5">
                  <c:v>2.8702109302992662E-2</c:v>
                </c:pt>
                <c:pt idx="6">
                  <c:v>2.5046524555308647E-2</c:v>
                </c:pt>
                <c:pt idx="7">
                  <c:v>3.116217233843499E-2</c:v>
                </c:pt>
                <c:pt idx="8">
                  <c:v>4.7772127350374172E-2</c:v>
                </c:pt>
                <c:pt idx="9">
                  <c:v>5.20281956426345E-2</c:v>
                </c:pt>
                <c:pt idx="10">
                  <c:v>5.0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A36-4B1F-8EB3-A35911AAD6DB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Personal Auto</c:v>
                </c:pt>
              </c:strCache>
            </c:strRef>
          </c:tx>
          <c:invertIfNegative val="0"/>
          <c:dLbls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5FB-4EF0-B303-F053C2438473}"/>
                </c:ext>
              </c:extLst>
            </c:dLbl>
            <c:dLbl>
              <c:idx val="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5FB-4EF0-B303-F053C2438473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5FB-4EF0-B303-F053C2438473}"/>
                </c:ext>
              </c:extLst>
            </c:dLbl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5FB-4EF0-B303-F053C24384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L$1</c:f>
              <c:strCach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*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1.5314492191112583E-2</c:v>
                </c:pt>
                <c:pt idx="1">
                  <c:v>1.4105390278033481E-2</c:v>
                </c:pt>
                <c:pt idx="2">
                  <c:v>3.3210778090611681E-2</c:v>
                </c:pt>
                <c:pt idx="3">
                  <c:v>4.0328091199404836E-2</c:v>
                </c:pt>
                <c:pt idx="4">
                  <c:v>4.7688211915346113E-2</c:v>
                </c:pt>
                <c:pt idx="5">
                  <c:v>4.9110293107488268E-2</c:v>
                </c:pt>
                <c:pt idx="6">
                  <c:v>7.4031495776358369E-2</c:v>
                </c:pt>
                <c:pt idx="7">
                  <c:v>7.8264864140881851E-2</c:v>
                </c:pt>
                <c:pt idx="8">
                  <c:v>6.5649131280311357E-2</c:v>
                </c:pt>
                <c:pt idx="9">
                  <c:v>2.7365546997231371E-2</c:v>
                </c:pt>
                <c:pt idx="10">
                  <c:v>-1.4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FB-4EF0-B303-F053C24384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7966528"/>
        <c:axId val="327954376"/>
        <c:extLst>
          <c:ext xmlns:c15="http://schemas.microsoft.com/office/drawing/2012/chart" uri="{02D57815-91ED-43cb-92C2-25804820EDAC}">
            <c15:filteredBarSeries>
              <c15:ser>
                <c:idx val="1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invertIfNegative val="0"/>
                <c:dLbls>
                  <c:dLbl>
                    <c:idx val="4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10-6A36-4B1F-8EB3-A35911AAD6DB}"/>
                      </c:ext>
                    </c:extLst>
                  </c:dLbl>
                  <c:dLbl>
                    <c:idx val="8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D-6A36-4B1F-8EB3-A35911AAD6DB}"/>
                      </c:ext>
                    </c:extLst>
                  </c:dLbl>
                  <c:dLbl>
                    <c:idx val="9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B-6A36-4B1F-8EB3-A35911AAD6DB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sz="1400" b="1"/>
                      </a:pPr>
                      <a:endParaRPr lang="en-US"/>
                    </a:p>
                  </c:txPr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B$1:$L$1</c15:sqref>
                        </c15:formulaRef>
                      </c:ext>
                    </c:extLst>
                    <c:strCache>
                      <c:ptCount val="11"/>
                      <c:pt idx="0">
                        <c:v>2010</c:v>
                      </c:pt>
                      <c:pt idx="1">
                        <c:v>2011</c:v>
                      </c:pt>
                      <c:pt idx="2">
                        <c:v>2012</c:v>
                      </c:pt>
                      <c:pt idx="3">
                        <c:v>2013</c:v>
                      </c:pt>
                      <c:pt idx="4">
                        <c:v>2014</c:v>
                      </c:pt>
                      <c:pt idx="5">
                        <c:v>2015</c:v>
                      </c:pt>
                      <c:pt idx="6">
                        <c:v>2016</c:v>
                      </c:pt>
                      <c:pt idx="7">
                        <c:v>2017</c:v>
                      </c:pt>
                      <c:pt idx="8">
                        <c:v>2018</c:v>
                      </c:pt>
                      <c:pt idx="9">
                        <c:v>2019</c:v>
                      </c:pt>
                      <c:pt idx="10">
                        <c:v>2020*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1:$K$1</c15:sqref>
                        </c15:formulaRef>
                      </c:ext>
                    </c:extLst>
                    <c:numCache>
                      <c:formatCode>@</c:formatCode>
                      <c:ptCount val="10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8-6A36-4B1F-8EB3-A35911AAD6DB}"/>
                  </c:ext>
                </c:extLst>
              </c15:ser>
            </c15:filteredBarSeries>
          </c:ext>
        </c:extLst>
      </c:barChart>
      <c:catAx>
        <c:axId val="3279665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327954376"/>
        <c:crossesAt val="0"/>
        <c:auto val="1"/>
        <c:lblAlgn val="ctr"/>
        <c:lblOffset val="100"/>
        <c:noMultiLvlLbl val="0"/>
      </c:catAx>
      <c:valAx>
        <c:axId val="32795437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27966528"/>
        <c:crosses val="autoZero"/>
        <c:crossBetween val="between"/>
        <c:majorUnit val="1.0000000000000002E-2"/>
      </c:valAx>
    </c:plotArea>
    <c:legend>
      <c:legendPos val="t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926</cdr:x>
      <cdr:y>0.0621</cdr:y>
    </cdr:from>
    <cdr:to>
      <cdr:x>0.79992</cdr:x>
      <cdr:y>0.2224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8F5E5E80-79E2-462C-9013-26C241CBD5EC}"/>
            </a:ext>
          </a:extLst>
        </cdr:cNvPr>
        <cdr:cNvSpPr txBox="1"/>
      </cdr:nvSpPr>
      <cdr:spPr>
        <a:xfrm xmlns:a="http://schemas.openxmlformats.org/drawingml/2006/main">
          <a:off x="159075" y="121567"/>
          <a:ext cx="3082248" cy="3139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 anchor="ctr" anchorCtr="0">
          <a:sp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600" b="1" dirty="0"/>
            <a:t>First Half: Combined Ratio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</cdr:x>
      <cdr:y>0.02171</cdr:y>
    </cdr:from>
    <cdr:to>
      <cdr:x>0.6992</cdr:x>
      <cdr:y>0.0962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5657C82-1F62-4B0F-A975-821D459738D8}"/>
            </a:ext>
          </a:extLst>
        </cdr:cNvPr>
        <cdr:cNvSpPr txBox="1"/>
      </cdr:nvSpPr>
      <cdr:spPr>
        <a:xfrm xmlns:a="http://schemas.openxmlformats.org/drawingml/2006/main">
          <a:off x="0" y="64021"/>
          <a:ext cx="2879793" cy="21975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200" b="1" dirty="0"/>
            <a:t>Percentage change from year earlier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3926</cdr:x>
      <cdr:y>0.0621</cdr:y>
    </cdr:from>
    <cdr:to>
      <cdr:x>0.79992</cdr:x>
      <cdr:y>0.2224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8F5E5E80-79E2-462C-9013-26C241CBD5EC}"/>
            </a:ext>
          </a:extLst>
        </cdr:cNvPr>
        <cdr:cNvSpPr txBox="1"/>
      </cdr:nvSpPr>
      <cdr:spPr>
        <a:xfrm xmlns:a="http://schemas.openxmlformats.org/drawingml/2006/main">
          <a:off x="159075" y="121567"/>
          <a:ext cx="3082248" cy="3139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 anchor="ctr" anchorCtr="0">
          <a:sp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600" b="1" dirty="0"/>
            <a:t>First Half: Premium Growth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3926</cdr:x>
      <cdr:y>0.0621</cdr:y>
    </cdr:from>
    <cdr:to>
      <cdr:x>0.79992</cdr:x>
      <cdr:y>0.2224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8F5E5E80-79E2-462C-9013-26C241CBD5EC}"/>
            </a:ext>
          </a:extLst>
        </cdr:cNvPr>
        <cdr:cNvSpPr txBox="1"/>
      </cdr:nvSpPr>
      <cdr:spPr>
        <a:xfrm xmlns:a="http://schemas.openxmlformats.org/drawingml/2006/main">
          <a:off x="159075" y="121567"/>
          <a:ext cx="3082248" cy="3139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 anchor="ctr" anchorCtr="0">
          <a:sp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600" b="1" dirty="0"/>
            <a:t>First Half: Net Income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9692</cdr:x>
      <cdr:y>0.1788</cdr:y>
    </cdr:from>
    <cdr:to>
      <cdr:x>0.44244</cdr:x>
      <cdr:y>0.44019</cdr:y>
    </cdr:to>
    <cdr:grpSp>
      <cdr:nvGrpSpPr>
        <cdr:cNvPr id="3" name="Group 2">
          <a:extLst xmlns:a="http://schemas.openxmlformats.org/drawingml/2006/main">
            <a:ext uri="{FF2B5EF4-FFF2-40B4-BE49-F238E27FC236}">
              <a16:creationId xmlns:a16="http://schemas.microsoft.com/office/drawing/2014/main" id="{1B73E137-A1BD-483C-8B75-7378CA419DC2}"/>
            </a:ext>
          </a:extLst>
        </cdr:cNvPr>
        <cdr:cNvGrpSpPr/>
      </cdr:nvGrpSpPr>
      <cdr:grpSpPr>
        <a:xfrm xmlns:a="http://schemas.openxmlformats.org/drawingml/2006/main">
          <a:off x="2132212" y="698081"/>
          <a:ext cx="1044993" cy="1020533"/>
          <a:chOff x="2985470" y="332164"/>
          <a:chExt cx="1245593" cy="1782750"/>
        </a:xfrm>
      </cdr:grpSpPr>
      <cdr:sp macro="" textlink="">
        <cdr:nvSpPr>
          <cdr:cNvPr id="6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2985470" y="332164"/>
            <a:ext cx="1245593" cy="889949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400" b="1" dirty="0">
                <a:solidFill>
                  <a:schemeClr val="accent1"/>
                </a:solidFill>
                <a:latin typeface="+mj-lt"/>
              </a:rPr>
              <a:t>Hurricane Andrew</a:t>
            </a:r>
          </a:p>
        </cdr:txBody>
      </cdr:sp>
      <cdr:cxnSp macro="">
        <cdr:nvCxnSpPr>
          <cdr:cNvPr id="7" name="Straight Arrow Connector 6">
            <a:extLst xmlns:a="http://schemas.openxmlformats.org/drawingml/2006/main">
              <a:ext uri="{FF2B5EF4-FFF2-40B4-BE49-F238E27FC236}">
                <a16:creationId xmlns:a16="http://schemas.microsoft.com/office/drawing/2014/main" id="{60896226-92A1-4ABC-B77C-C7AA7A7B861A}"/>
              </a:ext>
            </a:extLst>
          </cdr:cNvPr>
          <cdr:cNvCxnSpPr/>
        </cdr:nvCxnSpPr>
        <cdr:spPr bwMode="gray">
          <a:xfrm xmlns:a="http://schemas.openxmlformats.org/drawingml/2006/main">
            <a:off x="3575942" y="1203476"/>
            <a:ext cx="0" cy="911438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  <cdr:relSizeAnchor xmlns:cdr="http://schemas.openxmlformats.org/drawingml/2006/chartDrawing">
    <cdr:from>
      <cdr:x>0.49194</cdr:x>
      <cdr:y>0.16557</cdr:y>
    </cdr:from>
    <cdr:to>
      <cdr:x>0.59656</cdr:x>
      <cdr:y>0.50166</cdr:y>
    </cdr:to>
    <cdr:grpSp>
      <cdr:nvGrpSpPr>
        <cdr:cNvPr id="2" name="Group 1">
          <a:extLst xmlns:a="http://schemas.openxmlformats.org/drawingml/2006/main">
            <a:ext uri="{FF2B5EF4-FFF2-40B4-BE49-F238E27FC236}">
              <a16:creationId xmlns:a16="http://schemas.microsoft.com/office/drawing/2014/main" id="{89A04289-F628-4C99-BB2D-D31CE777AF01}"/>
            </a:ext>
          </a:extLst>
        </cdr:cNvPr>
        <cdr:cNvGrpSpPr/>
      </cdr:nvGrpSpPr>
      <cdr:grpSpPr>
        <a:xfrm xmlns:a="http://schemas.openxmlformats.org/drawingml/2006/main">
          <a:off x="3532670" y="646428"/>
          <a:ext cx="751286" cy="1312181"/>
          <a:chOff x="4775085" y="909412"/>
          <a:chExt cx="675112" cy="1419223"/>
        </a:xfrm>
      </cdr:grpSpPr>
      <cdr:sp macro="" textlink="">
        <cdr:nvSpPr>
          <cdr:cNvPr id="15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4775085" y="909412"/>
            <a:ext cx="675112" cy="388619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400" b="1" dirty="0">
                <a:solidFill>
                  <a:schemeClr val="accent1"/>
                </a:solidFill>
                <a:latin typeface="+mj-lt"/>
              </a:rPr>
              <a:t>WTC</a:t>
            </a:r>
          </a:p>
        </cdr:txBody>
      </cdr:sp>
      <cdr:cxnSp macro="">
        <cdr:nvCxnSpPr>
          <cdr:cNvPr id="16" name="Straight Arrow Connector 15">
            <a:extLst xmlns:a="http://schemas.openxmlformats.org/drawingml/2006/main">
              <a:ext uri="{FF2B5EF4-FFF2-40B4-BE49-F238E27FC236}">
                <a16:creationId xmlns:a16="http://schemas.microsoft.com/office/drawing/2014/main" id="{BE4BF7F5-3F66-4F00-89ED-3E1AD8CFDE43}"/>
              </a:ext>
            </a:extLst>
          </cdr:cNvPr>
          <cdr:cNvCxnSpPr/>
        </cdr:nvCxnSpPr>
        <cdr:spPr bwMode="gray">
          <a:xfrm xmlns:a="http://schemas.openxmlformats.org/drawingml/2006/main">
            <a:off x="5169777" y="1280042"/>
            <a:ext cx="0" cy="1048593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  <cdr:relSizeAnchor xmlns:cdr="http://schemas.openxmlformats.org/drawingml/2006/chartDrawing">
    <cdr:from>
      <cdr:x>0.55345</cdr:x>
      <cdr:y>0</cdr:y>
    </cdr:from>
    <cdr:to>
      <cdr:x>0.71967</cdr:x>
      <cdr:y>0.2145</cdr:y>
    </cdr:to>
    <cdr:grpSp>
      <cdr:nvGrpSpPr>
        <cdr:cNvPr id="21" name="Group 20">
          <a:extLst xmlns:a="http://schemas.openxmlformats.org/drawingml/2006/main">
            <a:ext uri="{FF2B5EF4-FFF2-40B4-BE49-F238E27FC236}">
              <a16:creationId xmlns:a16="http://schemas.microsoft.com/office/drawing/2014/main" id="{D5BC805F-A1D2-4C99-98E2-EAC17A87C283}"/>
            </a:ext>
          </a:extLst>
        </cdr:cNvPr>
        <cdr:cNvGrpSpPr/>
      </cdr:nvGrpSpPr>
      <cdr:grpSpPr bwMode="gray">
        <a:xfrm xmlns:a="http://schemas.openxmlformats.org/drawingml/2006/main">
          <a:off x="3974379" y="0"/>
          <a:ext cx="1193643" cy="837463"/>
          <a:chOff x="5125437" y="-5538946"/>
          <a:chExt cx="1359220" cy="1199423"/>
        </a:xfrm>
      </cdr:grpSpPr>
      <cdr:sp macro="" textlink="">
        <cdr:nvSpPr>
          <cdr:cNvPr id="22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5125437" y="-5538946"/>
            <a:ext cx="1359220" cy="712863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400" b="1" dirty="0">
                <a:solidFill>
                  <a:schemeClr val="accent1"/>
                </a:solidFill>
                <a:latin typeface="+mj-lt"/>
              </a:rPr>
              <a:t>Katrina, Rita, Wilma</a:t>
            </a:r>
          </a:p>
        </cdr:txBody>
      </cdr:sp>
      <cdr:cxnSp macro="">
        <cdr:nvCxnSpPr>
          <cdr:cNvPr id="23" name="Straight Arrow Connector 22">
            <a:extLst xmlns:a="http://schemas.openxmlformats.org/drawingml/2006/main">
              <a:ext uri="{FF2B5EF4-FFF2-40B4-BE49-F238E27FC236}">
                <a16:creationId xmlns:a16="http://schemas.microsoft.com/office/drawing/2014/main" id="{22264B7F-0BF3-48E7-AEDC-FCE7658BE083}"/>
              </a:ext>
            </a:extLst>
          </cdr:cNvPr>
          <cdr:cNvCxnSpPr/>
        </cdr:nvCxnSpPr>
        <cdr:spPr bwMode="gray">
          <a:xfrm xmlns:a="http://schemas.openxmlformats.org/drawingml/2006/main" flipH="1">
            <a:off x="5805048" y="-4829559"/>
            <a:ext cx="1" cy="490036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1833</cdr:x>
      <cdr:y>0</cdr:y>
    </cdr:from>
    <cdr:to>
      <cdr:x>1</cdr:x>
      <cdr:y>0.0736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AA0AB41C-AFDA-4C35-87FE-9133714530A2}"/>
            </a:ext>
          </a:extLst>
        </cdr:cNvPr>
        <cdr:cNvSpPr txBox="1"/>
      </cdr:nvSpPr>
      <cdr:spPr>
        <a:xfrm xmlns:a="http://schemas.openxmlformats.org/drawingml/2006/main">
          <a:off x="74916" y="0"/>
          <a:ext cx="4012159" cy="2862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 anchor="ctr" anchorCtr="0">
          <a:sp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400" b="1" dirty="0"/>
            <a:t>Billions of Miles in Prev. 12 Mos. (thru Sept.)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2351</cdr:x>
      <cdr:y>0.45976</cdr:y>
    </cdr:from>
    <cdr:to>
      <cdr:x>0.67188</cdr:x>
      <cdr:y>0.71345</cdr:y>
    </cdr:to>
    <cdr:grpSp>
      <cdr:nvGrpSpPr>
        <cdr:cNvPr id="5" name="Group 4">
          <a:extLst xmlns:a="http://schemas.openxmlformats.org/drawingml/2006/main">
            <a:ext uri="{FF2B5EF4-FFF2-40B4-BE49-F238E27FC236}">
              <a16:creationId xmlns:a16="http://schemas.microsoft.com/office/drawing/2014/main" id="{1EEEA9E0-4E6E-43C9-A0E6-F2B0B43FD4DC}"/>
            </a:ext>
          </a:extLst>
        </cdr:cNvPr>
        <cdr:cNvGrpSpPr/>
      </cdr:nvGrpSpPr>
      <cdr:grpSpPr>
        <a:xfrm xmlns:a="http://schemas.openxmlformats.org/drawingml/2006/main">
          <a:off x="927150" y="1723221"/>
          <a:ext cx="1859900" cy="950852"/>
          <a:chOff x="950288" y="1446471"/>
          <a:chExt cx="1859913" cy="950855"/>
        </a:xfrm>
      </cdr:grpSpPr>
      <cdr:sp macro="" textlink="">
        <cdr:nvSpPr>
          <cdr:cNvPr id="3" name="Rectangle 2">
            <a:extLst xmlns:a="http://schemas.openxmlformats.org/drawingml/2006/main">
              <a:ext uri="{FF2B5EF4-FFF2-40B4-BE49-F238E27FC236}">
                <a16:creationId xmlns:a16="http://schemas.microsoft.com/office/drawing/2014/main" id="{9757BC3A-CEB2-4B16-887C-5B72A0F24AAF}"/>
              </a:ext>
            </a:extLst>
          </cdr:cNvPr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950288" y="1469814"/>
            <a:ext cx="1859913" cy="927512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 algn="ctr">
            <a:solidFill>
              <a:schemeClr val="accent2"/>
            </a:solidFill>
            <a:miter lim="800000"/>
            <a:headEnd/>
            <a:tailEnd/>
          </a:ln>
        </cdr:spPr>
        <cdr:txBody>
          <a:bodyPr xmlns:a="http://schemas.openxmlformats.org/drawingml/2006/main" lIns="137160" tIns="137160" rIns="91440" bIns="137160"/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eaLnBrk="1" hangingPunct="1">
              <a:lnSpc>
                <a:spcPct val="90000"/>
              </a:lnSpc>
              <a:spcBef>
                <a:spcPts val="600"/>
              </a:spcBef>
            </a:pPr>
            <a:r>
              <a:rPr lang="en-US" altLang="en-US" sz="1600" dirty="0">
                <a:solidFill>
                  <a:schemeClr val="accent2"/>
                </a:solidFill>
                <a:latin typeface="+mn-lt"/>
              </a:rPr>
              <a:t>Industrywide Loss Development: $6 billion favorable</a:t>
            </a:r>
          </a:p>
        </cdr:txBody>
      </cdr:sp>
      <cdr:sp macro="" textlink="">
        <cdr:nvSpPr>
          <cdr:cNvPr id="4" name="Right Triangle 3">
            <a:extLst xmlns:a="http://schemas.openxmlformats.org/drawingml/2006/main">
              <a:ext uri="{FF2B5EF4-FFF2-40B4-BE49-F238E27FC236}">
                <a16:creationId xmlns:a16="http://schemas.microsoft.com/office/drawing/2014/main" id="{4B0EC798-7AEE-4F25-BEC5-0B301D51725E}"/>
              </a:ext>
            </a:extLst>
          </cdr:cNvPr>
          <cdr:cNvSpPr>
            <a:spLocks xmlns:a="http://schemas.openxmlformats.org/drawingml/2006/main" noChangeAspect="1"/>
          </cdr:cNvSpPr>
        </cdr:nvSpPr>
        <cdr:spPr bwMode="gray">
          <a:xfrm xmlns:a="http://schemas.openxmlformats.org/drawingml/2006/main" rot="10800000">
            <a:off x="2571079" y="1446471"/>
            <a:ext cx="227547" cy="194802"/>
          </a:xfrm>
          <a:prstGeom xmlns:a="http://schemas.openxmlformats.org/drawingml/2006/main" prst="rtTriangle">
            <a:avLst/>
          </a:prstGeom>
          <a:solidFill xmlns:a="http://schemas.openxmlformats.org/drawingml/2006/main">
            <a:schemeClr val="accent2"/>
          </a:solidFill>
          <a:ln xmlns:a="http://schemas.openxmlformats.org/drawingml/2006/main">
            <a:noFill/>
          </a:ln>
          <a:effectLst xmlns:a="http://schemas.openxmlformats.org/drawingml/2006/main"/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3">
            <a:schemeClr val="accent1"/>
          </a:fillRef>
          <a:effectRef xmlns:a="http://schemas.openxmlformats.org/drawingml/2006/main" idx="2">
            <a:schemeClr val="accent1"/>
          </a:effectRef>
          <a:fontRef xmlns:a="http://schemas.openxmlformats.org/drawingml/2006/main" idx="minor">
            <a:schemeClr val="lt1"/>
          </a:fontRef>
        </cdr:style>
        <cdr:txBody>
          <a:bodyPr xmlns:a="http://schemas.openxmlformats.org/drawingml/2006/main" rtlCol="0" anchor="ctr"/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/>
            <a:r>
              <a:rPr lang="en-US" dirty="0"/>
              <a:t>  </a:t>
            </a:r>
          </a:p>
        </cdr:txBody>
      </cdr:sp>
    </cdr:grp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</cdr:x>
      <cdr:y>0.12279</cdr:y>
    </cdr:from>
    <cdr:to>
      <cdr:x>0.7691</cdr:x>
      <cdr:y>0.2134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D7201A4A-901D-4C64-9C06-94089BB7637C}"/>
            </a:ext>
          </a:extLst>
        </cdr:cNvPr>
        <cdr:cNvSpPr txBox="1"/>
      </cdr:nvSpPr>
      <cdr:spPr>
        <a:xfrm xmlns:a="http://schemas.openxmlformats.org/drawingml/2006/main">
          <a:off x="-4668838" y="460218"/>
          <a:ext cx="3192772" cy="33995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400" b="1" dirty="0"/>
            <a:t>% Saying Great Deal/Quite a Lot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88579</cdr:x>
      <cdr:y>0.15616</cdr:y>
    </cdr:from>
    <cdr:to>
      <cdr:x>0.99198</cdr:x>
      <cdr:y>0.2314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E5727C9E-BB5A-40FB-BD8F-89D801C0F153}"/>
            </a:ext>
          </a:extLst>
        </cdr:cNvPr>
        <cdr:cNvSpPr txBox="1"/>
      </cdr:nvSpPr>
      <cdr:spPr>
        <a:xfrm xmlns:a="http://schemas.openxmlformats.org/drawingml/2006/main">
          <a:off x="6473744" y="616607"/>
          <a:ext cx="776082" cy="2972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 anchor="ctr" anchorCtr="0">
          <a:sp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400" b="1" dirty="0"/>
            <a:t>2,340.8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2522</cdr:x>
      <cdr:y>0.01724</cdr:y>
    </cdr:from>
    <cdr:to>
      <cdr:x>0.52932</cdr:x>
      <cdr:y>0.0808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F3FEA89C-6519-44A6-8144-EAA3E80E763E}"/>
            </a:ext>
          </a:extLst>
        </cdr:cNvPr>
        <cdr:cNvSpPr txBox="1"/>
      </cdr:nvSpPr>
      <cdr:spPr>
        <a:xfrm xmlns:a="http://schemas.openxmlformats.org/drawingml/2006/main">
          <a:off x="934244" y="48463"/>
          <a:ext cx="1261436" cy="17886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200" b="1" dirty="0"/>
            <a:t>In Millions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69424"/>
          </a:xfrm>
          <a:prstGeom prst="rect">
            <a:avLst/>
          </a:prstGeom>
        </p:spPr>
        <p:txBody>
          <a:bodyPr vert="horz" lIns="94221" tIns="47111" rIns="94221" bIns="47111" rtlCol="0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093" y="0"/>
            <a:ext cx="3077739" cy="469424"/>
          </a:xfrm>
          <a:prstGeom prst="rect">
            <a:avLst/>
          </a:prstGeom>
        </p:spPr>
        <p:txBody>
          <a:bodyPr vert="horz" lIns="94221" tIns="47111" rIns="94221" bIns="47111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100"/>
              <a:t>12/2/2020</a:t>
            </a:fld>
            <a:endParaRPr lang="en-US" sz="1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17422"/>
            <a:ext cx="3077739" cy="469424"/>
          </a:xfrm>
          <a:prstGeom prst="rect">
            <a:avLst/>
          </a:prstGeom>
        </p:spPr>
        <p:txBody>
          <a:bodyPr vert="horz" lIns="94221" tIns="47111" rIns="94221" bIns="47111" rtlCol="0" anchor="b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93" y="8917422"/>
            <a:ext cx="3077739" cy="469424"/>
          </a:xfrm>
          <a:prstGeom prst="rect">
            <a:avLst/>
          </a:prstGeom>
        </p:spPr>
        <p:txBody>
          <a:bodyPr vert="horz" lIns="94221" tIns="47111" rIns="94221" bIns="47111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100"/>
              <a:t>‹#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38275" y="328613"/>
            <a:ext cx="4225925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1" tIns="47111" rIns="94221" bIns="47111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0" y="9103656"/>
            <a:ext cx="7100832" cy="283189"/>
          </a:xfrm>
          <a:prstGeom prst="rect">
            <a:avLst/>
          </a:prstGeom>
        </p:spPr>
        <p:txBody>
          <a:bodyPr vert="horz" lIns="94221" tIns="47111" rIns="94221" bIns="47111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710248" y="3706492"/>
            <a:ext cx="5681980" cy="5281017"/>
          </a:xfrm>
          <a:prstGeom prst="rect">
            <a:avLst/>
          </a:prstGeom>
        </p:spPr>
        <p:txBody>
          <a:bodyPr vert="horz" lIns="94221" tIns="47111" rIns="94221" bIns="47111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1200"/>
      </a:spcBef>
      <a:buClr>
        <a:srgbClr val="337DBE"/>
      </a:buClr>
      <a:buSzPct val="77000"/>
      <a:buFont typeface="Wingdings 3" panose="05040102010807070707" pitchFamily="18" charset="2"/>
      <a:buChar char="y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600"/>
      </a:spcBef>
      <a:buClr>
        <a:srgbClr val="337DBE"/>
      </a:buClr>
      <a:buFont typeface="Wingdings" panose="05000000000000000000" pitchFamily="2" charset="2"/>
      <a:buChar char="w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300"/>
      </a:spcBef>
      <a:buClr>
        <a:srgbClr val="337DBE"/>
      </a:buClr>
      <a:buFont typeface="Arial" pitchFamily="34" charset="0"/>
      <a:buChar char="–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200"/>
      </a:spcBef>
      <a:buClr>
        <a:srgbClr val="337DBE"/>
      </a:buClr>
      <a:buFont typeface="Wingdings" pitchFamily="2" charset="2"/>
      <a:buChar char="§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rgbClr val="337DBE"/>
      </a:buClr>
      <a:buSzPct val="100000"/>
      <a:buFont typeface="Arial" panose="020B0604020202020204" pitchFamily="34" charset="0"/>
      <a:buChar char="»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5858BD08-603D-48F8-9A20-C039EB7A66E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38275" y="328613"/>
            <a:ext cx="4225925" cy="317023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8040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444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745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4135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3511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4970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8533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500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" name="Slide Image Placeholder 2">
            <a:extLst>
              <a:ext uri="{FF2B5EF4-FFF2-40B4-BE49-F238E27FC236}">
                <a16:creationId xmlns:a16="http://schemas.microsoft.com/office/drawing/2014/main" id="{E3E36693-BF10-4669-ACCE-6251A0320A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E1569F6-0442-46BE-AEA0-0924F263E940}"/>
              </a:ext>
            </a:extLst>
          </p:cNvPr>
          <p:cNvSpPr txBox="1">
            <a:spLocks/>
          </p:cNvSpPr>
          <p:nvPr/>
        </p:nvSpPr>
        <p:spPr>
          <a:xfrm>
            <a:off x="0" y="8866597"/>
            <a:ext cx="6856413" cy="2758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F8523C-8729-40F0-9536-D6C4CA3AD238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0081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buNone/>
            </a:pP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31</a:t>
            </a:fld>
            <a:endParaRPr lang="en-US" noProof="0" dirty="0"/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A20A2802-C70D-4B9A-9C0A-834AC83160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292226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0025" lvl="1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9598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893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38275" y="328613"/>
            <a:ext cx="4225925" cy="3170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348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36</a:t>
            </a:fld>
            <a:endParaRPr lang="en-US" noProof="0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A66BD940-984C-4D55-ABD2-9E1451C54D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5C3CA8CC-B73E-4AD0-AA8B-74D8269342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252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0878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00855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1A9103BA-3900-4351-9F27-ED94AD5888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226096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667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80877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D5F8523C-8729-40F0-9536-D6C4CA3AD238}" type="slidenum">
              <a:rPr lang="en-US" noProof="0" smtClean="0"/>
              <a:pPr lvl="0"/>
              <a:t>42</a:t>
            </a:fld>
            <a:endParaRPr lang="en-US" noProof="0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700A06F2-47F4-4055-8E98-287ADFCAE3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3066872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73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EA3D68F1-0777-4B1E-A52C-51505E82C0DB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55738" y="330200"/>
            <a:ext cx="4254500" cy="31908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8815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5529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5545" indent="-294440" defTabSz="95529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77762" indent="-235552" defTabSz="95529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48867" indent="-235552" defTabSz="95529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19972" indent="-235552" defTabSz="95529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91076" indent="-235552" defTabSz="95529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62181" indent="-235552" defTabSz="95529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33285" indent="-235552" defTabSz="95529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04390" indent="-235552" defTabSz="95529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2B0E9B5-36A5-4C65-9FC0-7A7FC996B372}" type="slidenum">
              <a:rPr lang="en-US" altLang="en-US" smtClean="0"/>
              <a:pPr/>
              <a:t>7</a:t>
            </a:fld>
            <a:endParaRPr lang="en-US" alt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38275" y="328613"/>
            <a:ext cx="4225925" cy="317023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1883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2603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05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694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5529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5545" indent="-294440" defTabSz="95529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77762" indent="-235552" defTabSz="95529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48867" indent="-235552" defTabSz="95529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19972" indent="-235552" defTabSz="95529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91076" indent="-235552" defTabSz="95529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62181" indent="-235552" defTabSz="95529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33285" indent="-235552" defTabSz="95529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04390" indent="-235552" defTabSz="95529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2B0E9B5-36A5-4C65-9FC0-7A7FC996B372}" type="slidenum">
              <a:rPr lang="en-US" altLang="en-US" smtClean="0"/>
              <a:pPr/>
              <a:t>13</a:t>
            </a:fld>
            <a:endParaRPr lang="en-US" alt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38275" y="328613"/>
            <a:ext cx="4225925" cy="317023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5858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6123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55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399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4081" y="3351344"/>
            <a:ext cx="7772400" cy="1380744"/>
          </a:xfrm>
        </p:spPr>
        <p:txBody>
          <a:bodyPr lIns="0" tIns="0" rIns="0" bIns="0"/>
          <a:lstStyle>
            <a:lvl1pPr algn="l">
              <a:defRPr sz="36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4081" y="4933256"/>
            <a:ext cx="77724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00">
                <a:solidFill>
                  <a:srgbClr val="072C4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III_logo-4c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1" y="2243432"/>
            <a:ext cx="2539653" cy="75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5"/>
          </p:nvPr>
        </p:nvSpPr>
        <p:spPr>
          <a:xfrm>
            <a:off x="357188" y="2377439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6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7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849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357188" y="237744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4668837" y="2378075"/>
            <a:ext cx="4151376" cy="14160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4668838" y="4708525"/>
            <a:ext cx="4152900" cy="14176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1593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nip Single Corner Rectangle 12">
            <a:extLst>
              <a:ext uri="{FF2B5EF4-FFF2-40B4-BE49-F238E27FC236}">
                <a16:creationId xmlns:a16="http://schemas.microsoft.com/office/drawing/2014/main" id="{F3BAFC78-8199-A74C-BD9D-457AD13E1144}"/>
              </a:ext>
            </a:extLst>
          </p:cNvPr>
          <p:cNvSpPr/>
          <p:nvPr userDrawn="1"/>
        </p:nvSpPr>
        <p:spPr>
          <a:xfrm>
            <a:off x="4637524" y="3845299"/>
            <a:ext cx="4148574" cy="2212848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F2AB563-238C-9C4A-B2AD-EE7B296A2DD5}"/>
              </a:ext>
            </a:extLst>
          </p:cNvPr>
          <p:cNvSpPr/>
          <p:nvPr userDrawn="1"/>
        </p:nvSpPr>
        <p:spPr>
          <a:xfrm>
            <a:off x="4637524" y="1431288"/>
            <a:ext cx="4148574" cy="221284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A747EB5-F24E-C34B-8023-A178AFE656EC}"/>
              </a:ext>
            </a:extLst>
          </p:cNvPr>
          <p:cNvSpPr/>
          <p:nvPr userDrawn="1"/>
        </p:nvSpPr>
        <p:spPr>
          <a:xfrm>
            <a:off x="356617" y="3845304"/>
            <a:ext cx="4127310" cy="221284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B238EEC-8152-6949-BB59-582A9381985C}"/>
              </a:ext>
            </a:extLst>
          </p:cNvPr>
          <p:cNvSpPr/>
          <p:nvPr userDrawn="1"/>
        </p:nvSpPr>
        <p:spPr>
          <a:xfrm>
            <a:off x="356617" y="1431288"/>
            <a:ext cx="4127310" cy="221284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 err="1">
              <a:solidFill>
                <a:schemeClr val="bg1"/>
              </a:solidFill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AF518FF-ABA1-C740-89C1-FC4347D47FBD}"/>
              </a:ext>
            </a:extLst>
          </p:cNvPr>
          <p:cNvCxnSpPr>
            <a:cxnSpLocks/>
          </p:cNvCxnSpPr>
          <p:nvPr userDrawn="1"/>
        </p:nvCxnSpPr>
        <p:spPr>
          <a:xfrm>
            <a:off x="4620961" y="4256142"/>
            <a:ext cx="419442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tle Placeholder 1">
            <a:extLst>
              <a:ext uri="{FF2B5EF4-FFF2-40B4-BE49-F238E27FC236}">
                <a16:creationId xmlns:a16="http://schemas.microsoft.com/office/drawing/2014/main" id="{76A47BB4-B2AD-7944-A750-0729E929B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310666"/>
            <a:ext cx="8429482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9" name="Chart Placeholder 5">
            <a:extLst>
              <a:ext uri="{FF2B5EF4-FFF2-40B4-BE49-F238E27FC236}">
                <a16:creationId xmlns:a16="http://schemas.microsoft.com/office/drawing/2014/main" id="{B6F2D2F6-8065-6E4F-80D4-D7F51B21083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500032" y="1745758"/>
            <a:ext cx="3840480" cy="177032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B43557F3-66F6-334D-A8CF-4AF6A80B06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316" y="1489748"/>
            <a:ext cx="3918196" cy="256011"/>
          </a:xfrm>
        </p:spPr>
        <p:txBody>
          <a:bodyPr/>
          <a:lstStyle>
            <a:lvl1pPr marL="0" indent="0">
              <a:buNone/>
              <a:defRPr sz="900" b="1"/>
            </a:lvl1pPr>
            <a:lvl2pPr marL="253740" indent="0">
              <a:buNone/>
              <a:defRPr sz="900" b="1"/>
            </a:lvl2pPr>
            <a:lvl3pPr marL="514337" indent="0">
              <a:buNone/>
              <a:defRPr sz="900" b="1"/>
            </a:lvl3pPr>
            <a:lvl4pPr marL="774935" indent="0">
              <a:buNone/>
              <a:defRPr sz="900" b="1"/>
            </a:lvl4pPr>
            <a:lvl5pPr marL="980669" indent="0">
              <a:buNone/>
              <a:defRPr sz="900" b="1"/>
            </a:lvl5pPr>
          </a:lstStyle>
          <a:p>
            <a:pPr lvl="0"/>
            <a:r>
              <a:rPr lang="en-US" dirty="0"/>
              <a:t>Graph title</a:t>
            </a:r>
          </a:p>
        </p:txBody>
      </p:sp>
      <p:sp>
        <p:nvSpPr>
          <p:cNvPr id="41" name="Chart Placeholder 5">
            <a:extLst>
              <a:ext uri="{FF2B5EF4-FFF2-40B4-BE49-F238E27FC236}">
                <a16:creationId xmlns:a16="http://schemas.microsoft.com/office/drawing/2014/main" id="{2346A419-1F9D-3A42-A0C5-0433A7F2A8E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500032" y="4162387"/>
            <a:ext cx="3840480" cy="177032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C457DC29-A836-D448-AB15-CA08376EDF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2316" y="3906377"/>
            <a:ext cx="3918196" cy="256011"/>
          </a:xfrm>
        </p:spPr>
        <p:txBody>
          <a:bodyPr/>
          <a:lstStyle>
            <a:lvl1pPr marL="0" indent="0">
              <a:buNone/>
              <a:defRPr sz="900" b="1"/>
            </a:lvl1pPr>
            <a:lvl2pPr marL="253740" indent="0">
              <a:buNone/>
              <a:defRPr sz="900" b="1"/>
            </a:lvl2pPr>
            <a:lvl3pPr marL="514337" indent="0">
              <a:buNone/>
              <a:defRPr sz="900" b="1"/>
            </a:lvl3pPr>
            <a:lvl4pPr marL="774935" indent="0">
              <a:buNone/>
              <a:defRPr sz="900" b="1"/>
            </a:lvl4pPr>
            <a:lvl5pPr marL="980669" indent="0">
              <a:buNone/>
              <a:defRPr sz="900" b="1"/>
            </a:lvl5pPr>
          </a:lstStyle>
          <a:p>
            <a:pPr lvl="0"/>
            <a:r>
              <a:rPr lang="en-US" dirty="0"/>
              <a:t>Graph title</a:t>
            </a:r>
          </a:p>
        </p:txBody>
      </p:sp>
      <p:sp>
        <p:nvSpPr>
          <p:cNvPr id="43" name="Chart Placeholder 5">
            <a:extLst>
              <a:ext uri="{FF2B5EF4-FFF2-40B4-BE49-F238E27FC236}">
                <a16:creationId xmlns:a16="http://schemas.microsoft.com/office/drawing/2014/main" id="{73451660-11F0-DD41-BD19-E200960A1D4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791571" y="1745758"/>
            <a:ext cx="3840480" cy="177032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83F701B3-9A33-B349-BF3D-217EFD2970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552" y="1489748"/>
            <a:ext cx="3922903" cy="256010"/>
          </a:xfrm>
        </p:spPr>
        <p:txBody>
          <a:bodyPr/>
          <a:lstStyle>
            <a:lvl1pPr marL="0" indent="0">
              <a:buNone/>
              <a:defRPr sz="900" b="1"/>
            </a:lvl1pPr>
            <a:lvl2pPr marL="253740" indent="0">
              <a:buNone/>
              <a:defRPr sz="900" b="1"/>
            </a:lvl2pPr>
            <a:lvl3pPr marL="514337" indent="0">
              <a:buNone/>
              <a:defRPr sz="900" b="1"/>
            </a:lvl3pPr>
            <a:lvl4pPr marL="774935" indent="0">
              <a:buNone/>
              <a:defRPr sz="900" b="1"/>
            </a:lvl4pPr>
            <a:lvl5pPr marL="980669" indent="0">
              <a:buNone/>
              <a:defRPr sz="900" b="1"/>
            </a:lvl5pPr>
          </a:lstStyle>
          <a:p>
            <a:pPr lvl="0"/>
            <a:r>
              <a:rPr lang="en-US" dirty="0"/>
              <a:t>Graph title</a:t>
            </a:r>
          </a:p>
        </p:txBody>
      </p:sp>
      <p:sp>
        <p:nvSpPr>
          <p:cNvPr id="46" name="Text Placeholder 44">
            <a:extLst>
              <a:ext uri="{FF2B5EF4-FFF2-40B4-BE49-F238E27FC236}">
                <a16:creationId xmlns:a16="http://schemas.microsoft.com/office/drawing/2014/main" id="{D21B3960-ABE4-F24E-B3E0-2A928174D6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72" y="3908770"/>
            <a:ext cx="3958597" cy="17859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90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78594" indent="-17145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050">
                <a:solidFill>
                  <a:schemeClr val="bg1"/>
                </a:solidFill>
              </a:defRPr>
            </a:lvl2pPr>
            <a:lvl3pPr marL="350044" indent="-17145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050">
                <a:solidFill>
                  <a:schemeClr val="bg1"/>
                </a:solidFill>
              </a:defRPr>
            </a:lvl3pPr>
            <a:lvl4pPr marL="520304" indent="-163116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050">
                <a:solidFill>
                  <a:schemeClr val="bg1"/>
                </a:solidFill>
              </a:defRPr>
            </a:lvl4pPr>
            <a:lvl5pPr marL="642938" indent="-130969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mmentar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B3D97F8D-1AE4-4D4F-A071-2356188B9F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34116" y="6293757"/>
            <a:ext cx="6893242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150"/>
              </a:spcBef>
              <a:buNone/>
              <a:defRPr sz="7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0261479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7"/>
            <a:ext cx="84582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21" y="1188723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165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E52494B6-15BA-BA46-AE93-1C5255CD6A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952" y="5709557"/>
            <a:ext cx="7982678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150"/>
              </a:spcBef>
              <a:buNone/>
              <a:defRPr sz="7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9992932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7"/>
            <a:ext cx="84582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37856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21" y="1188723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165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54DE06E-A783-FB4C-83B3-DF92FA7AD2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952" y="5709557"/>
            <a:ext cx="7982678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150"/>
              </a:spcBef>
              <a:buNone/>
              <a:defRPr sz="7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3348658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0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704080" y="1960694"/>
            <a:ext cx="77724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4080" y="3542606"/>
            <a:ext cx="694944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48277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01696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538665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8467724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352425" y="2377440"/>
            <a:ext cx="8467725" cy="37465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79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357188" y="2377440"/>
            <a:ext cx="4148137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37"/>
          </p:nvPr>
        </p:nvSpPr>
        <p:spPr>
          <a:xfrm>
            <a:off x="352425" y="2381250"/>
            <a:ext cx="4152900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8"/>
          </p:nvPr>
        </p:nvSpPr>
        <p:spPr>
          <a:xfrm>
            <a:off x="4668837" y="2381249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9"/>
          </p:nvPr>
        </p:nvSpPr>
        <p:spPr>
          <a:xfrm>
            <a:off x="4668837" y="4712970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7520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>
            <a:spLocks noChangeAspect="1"/>
          </p:cNvSpPr>
          <p:nvPr/>
        </p:nvSpPr>
        <p:spPr>
          <a:xfrm rot="5400000">
            <a:off x="0" y="0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 bwMode="gray">
          <a:xfrm>
            <a:off x="8620125" y="6662377"/>
            <a:ext cx="43815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6616" y="231310"/>
            <a:ext cx="84582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6616" y="1883664"/>
            <a:ext cx="84582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69900" y="6403975"/>
            <a:ext cx="3302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4" r:id="rId3"/>
    <p:sldLayoutId id="2147483664" r:id="rId4"/>
    <p:sldLayoutId id="2147483650" r:id="rId5"/>
    <p:sldLayoutId id="2147483665" r:id="rId6"/>
    <p:sldLayoutId id="2147483655" r:id="rId7"/>
    <p:sldLayoutId id="2147483656" r:id="rId8"/>
    <p:sldLayoutId id="2147483658" r:id="rId9"/>
    <p:sldLayoutId id="2147483659" r:id="rId10"/>
    <p:sldLayoutId id="2147483657" r:id="rId11"/>
    <p:sldLayoutId id="2147483666" r:id="rId12"/>
    <p:sldLayoutId id="2147483667" r:id="rId13"/>
    <p:sldLayoutId id="2147483668" r:id="rId14"/>
  </p:sldLayoutIdLst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8" indent="-292608" algn="l" defTabSz="914400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28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728" indent="-219456" algn="l" defTabSz="914400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indent="-173736" algn="l" defTabSz="914400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jamesl@iii.org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chart" Target="../charts/char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2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4" Type="http://schemas.openxmlformats.org/officeDocument/2006/relationships/chart" Target="../charts/chart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11.xml"/><Relationship Id="rId5" Type="http://schemas.openxmlformats.org/officeDocument/2006/relationships/chart" Target="../charts/chart26.xml"/><Relationship Id="rId4" Type="http://schemas.openxmlformats.org/officeDocument/2006/relationships/chart" Target="../charts/chart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2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32.xml"/><Relationship Id="rId5" Type="http://schemas.openxmlformats.org/officeDocument/2006/relationships/chart" Target="../charts/chart31.xml"/><Relationship Id="rId4" Type="http://schemas.openxmlformats.org/officeDocument/2006/relationships/chart" Target="../charts/chart3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3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5" Type="http://schemas.openxmlformats.org/officeDocument/2006/relationships/chart" Target="../charts/chart38.xml"/><Relationship Id="rId4" Type="http://schemas.openxmlformats.org/officeDocument/2006/relationships/chart" Target="../charts/chart3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1.xml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44.xml"/><Relationship Id="rId4" Type="http://schemas.openxmlformats.org/officeDocument/2006/relationships/chart" Target="../charts/chart4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6.xml"/><Relationship Id="rId2" Type="http://schemas.openxmlformats.org/officeDocument/2006/relationships/chart" Target="../charts/chart45.xml"/><Relationship Id="rId1" Type="http://schemas.openxmlformats.org/officeDocument/2006/relationships/slideLayout" Target="../slideLayouts/slideLayout10.xml"/><Relationship Id="rId4" Type="http://schemas.openxmlformats.org/officeDocument/2006/relationships/chart" Target="../charts/chart4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8.xml"/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1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9.png"/><Relationship Id="rId5" Type="http://schemas.openxmlformats.org/officeDocument/2006/relationships/notesSlide" Target="../notesSlides/notesSlide20.xml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7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13.xml"/><Relationship Id="rId7" Type="http://schemas.openxmlformats.org/officeDocument/2006/relationships/image" Target="../media/image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1.jpe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5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loyds.com/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0.xml"/><Relationship Id="rId3" Type="http://schemas.openxmlformats.org/officeDocument/2006/relationships/tags" Target="../tags/tag17.xml"/><Relationship Id="rId7" Type="http://schemas.openxmlformats.org/officeDocument/2006/relationships/image" Target="../media/image4.emf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4.emf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chart" Target="../charts/char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F52BF2-9BD2-4A84-9532-A117526508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surance 2020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1C68D7-B656-4BA1-9106-7BA19C8CE3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081" y="4933256"/>
            <a:ext cx="7772400" cy="1040824"/>
          </a:xfrm>
        </p:spPr>
        <p:txBody>
          <a:bodyPr/>
          <a:lstStyle/>
          <a:p>
            <a:r>
              <a:rPr lang="en-US" dirty="0"/>
              <a:t>Casualty Actuaries of Greater New York</a:t>
            </a:r>
          </a:p>
          <a:p>
            <a:r>
              <a:rPr lang="en-US" dirty="0"/>
              <a:t>December 9, 2020</a:t>
            </a:r>
          </a:p>
          <a:p>
            <a:pPr>
              <a:spcBef>
                <a:spcPts val="600"/>
              </a:spcBef>
              <a:buSzTx/>
            </a:pPr>
            <a:endParaRPr lang="en-US" altLang="en-US" sz="1200" spc="50" dirty="0">
              <a:solidFill>
                <a:srgbClr val="337DBE"/>
              </a:solidFill>
            </a:endParaRPr>
          </a:p>
          <a:p>
            <a:pPr>
              <a:spcBef>
                <a:spcPts val="600"/>
              </a:spcBef>
              <a:buSzTx/>
            </a:pPr>
            <a:r>
              <a:rPr lang="en-US" altLang="en-US" sz="1200" spc="50" dirty="0">
                <a:solidFill>
                  <a:srgbClr val="337DBE"/>
                </a:solidFill>
              </a:rPr>
              <a:t>James Lynch, FCAS MAAA, Chief Actuary and Senior Vice President, Research and Education</a:t>
            </a:r>
          </a:p>
          <a:p>
            <a:pPr lvl="0">
              <a:spcBef>
                <a:spcPts val="600"/>
              </a:spcBef>
              <a:buSzTx/>
            </a:pP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  <a:t>Insurance Information Institute </a:t>
            </a:r>
            <a:r>
              <a:rPr lang="en-US" altLang="en-US" sz="1200" spc="50" dirty="0">
                <a:solidFill>
                  <a:srgbClr val="337DBE"/>
                </a:solidFill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  <a:t>110 William Street </a:t>
            </a:r>
            <a:r>
              <a:rPr lang="en-US" altLang="en-US" sz="1200" spc="50" dirty="0">
                <a:solidFill>
                  <a:srgbClr val="337DBE"/>
                </a:solidFill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  <a:t>New York, NY 10038 </a:t>
            </a:r>
            <a:b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</a:b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  <a:t>Tel: 212.346.5533 </a:t>
            </a:r>
            <a:r>
              <a:rPr lang="en-US" altLang="en-US" sz="1200" spc="50" dirty="0">
                <a:solidFill>
                  <a:srgbClr val="337DBE"/>
                </a:solidFill>
                <a:sym typeface="Wingdings"/>
              </a:rPr>
              <a:t></a:t>
            </a: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  <a:t> </a:t>
            </a: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amesl@iii.org</a:t>
            </a: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  <a:t> </a:t>
            </a:r>
            <a:r>
              <a:rPr lang="en-US" altLang="en-US" sz="1200" spc="50" dirty="0">
                <a:solidFill>
                  <a:srgbClr val="337DBE"/>
                </a:solidFill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  <a:t>www.iii.or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47802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76DC47-8394-4CE3-AECA-2048D51244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52157" y="1100770"/>
            <a:ext cx="4153168" cy="713232"/>
          </a:xfrm>
        </p:spPr>
        <p:txBody>
          <a:bodyPr/>
          <a:lstStyle/>
          <a:p>
            <a:r>
              <a:rPr lang="en-US" dirty="0"/>
              <a:t>Americans stopped driv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6D805F-2E10-474A-B8B5-7D6B9B195B0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23865" y="1100770"/>
            <a:ext cx="4153168" cy="758512"/>
          </a:xfrm>
        </p:spPr>
        <p:txBody>
          <a:bodyPr/>
          <a:lstStyle/>
          <a:p>
            <a:r>
              <a:rPr lang="en-US" dirty="0"/>
              <a:t>Frequency, severity trend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B621B45-8F67-4CAE-8A07-86BDD28167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Federal Highway Administration, Fast Track Monitoring System. </a:t>
            </a: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9E04671A-B04C-49B8-AE4D-62E1536E5F33}"/>
              </a:ext>
            </a:extLst>
          </p:cNvPr>
          <p:cNvGraphicFramePr>
            <a:graphicFrameLocks noGrp="1"/>
          </p:cNvGraphicFramePr>
          <p:nvPr>
            <p:ph sz="quarter" idx="34"/>
            <p:extLst>
              <p:ext uri="{D42A27DB-BD31-4B8C-83A1-F6EECF244321}">
                <p14:modId xmlns:p14="http://schemas.microsoft.com/office/powerpoint/2010/main" val="2384252129"/>
              </p:ext>
            </p:extLst>
          </p:nvPr>
        </p:nvGraphicFramePr>
        <p:xfrm>
          <a:off x="4505326" y="1945622"/>
          <a:ext cx="4475477" cy="3888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itle 6">
            <a:extLst>
              <a:ext uri="{FF2B5EF4-FFF2-40B4-BE49-F238E27FC236}">
                <a16:creationId xmlns:a16="http://schemas.microsoft.com/office/drawing/2014/main" id="{9568B19A-A7C1-4072-B98F-3CCDF79E6DB7}"/>
              </a:ext>
            </a:extLst>
          </p:cNvPr>
          <p:cNvSpPr txBox="1">
            <a:spLocks/>
          </p:cNvSpPr>
          <p:nvPr/>
        </p:nvSpPr>
        <p:spPr>
          <a:xfrm>
            <a:off x="418833" y="184394"/>
            <a:ext cx="8458200" cy="713232"/>
          </a:xfrm>
          <a:prstGeom prst="rect">
            <a:avLst/>
          </a:prstGeom>
        </p:spPr>
        <p:txBody>
          <a:bodyPr vert="horz" lIns="68580" tIns="34290" rIns="68580" bIns="34290" rtlCol="0" anchor="t" anchorCtr="0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3000" b="0" kern="1200">
                <a:solidFill>
                  <a:srgbClr val="337DBE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250" dirty="0"/>
          </a:p>
          <a:p>
            <a:r>
              <a:rPr lang="en-US" dirty="0"/>
              <a:t>Auto Trends</a:t>
            </a:r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248B1990-DCAA-49AA-B70D-D4720FC363F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96401402"/>
              </p:ext>
            </p:extLst>
          </p:nvPr>
        </p:nvGraphicFramePr>
        <p:xfrm>
          <a:off x="418250" y="2047367"/>
          <a:ext cx="4087075" cy="3888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39047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6039F-6C93-4E70-A316-1C96D5F918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Commercial Lines Pi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4D3CB7-8CEB-4F42-B33D-25B8EA3E71F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2020 Was Looking Good</a:t>
            </a:r>
          </a:p>
        </p:txBody>
      </p:sp>
    </p:spTree>
    <p:extLst>
      <p:ext uri="{BB962C8B-B14F-4D97-AF65-F5344CB8AC3E}">
        <p14:creationId xmlns:p14="http://schemas.microsoft.com/office/powerpoint/2010/main" val="28729676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Commercial Lines Results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: NAIC data, </a:t>
            </a:r>
            <a:r>
              <a:rPr lang="fr-FR" dirty="0" err="1"/>
              <a:t>sourc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S&amp;P Global </a:t>
            </a:r>
            <a:r>
              <a:rPr lang="fr-FR" dirty="0" err="1"/>
              <a:t>Market</a:t>
            </a:r>
            <a:r>
              <a:rPr lang="fr-FR" dirty="0"/>
              <a:t> Intelligence.</a:t>
            </a:r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416657" y="5579679"/>
            <a:ext cx="8303481" cy="72237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Excellent workers comp results have more than made up for problems in auto, general liability.</a:t>
            </a:r>
          </a:p>
        </p:txBody>
      </p:sp>
      <p:graphicFrame>
        <p:nvGraphicFramePr>
          <p:cNvPr id="14" name="Content Placehold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4425812"/>
              </p:ext>
            </p:extLst>
          </p:nvPr>
        </p:nvGraphicFramePr>
        <p:xfrm>
          <a:off x="423862" y="1277938"/>
          <a:ext cx="8296275" cy="414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8694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651888" y="233058"/>
            <a:ext cx="7811628" cy="950976"/>
          </a:xfrm>
        </p:spPr>
        <p:txBody>
          <a:bodyPr/>
          <a:lstStyle/>
          <a:p>
            <a:r>
              <a:rPr lang="en-US" altLang="en-US" dirty="0"/>
              <a:t>Commercial Direct Loss Ratios by Lin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Through Q2. </a:t>
            </a:r>
          </a:p>
          <a:p>
            <a:r>
              <a:rPr lang="en-US" dirty="0"/>
              <a:t>Source: NAIC data, sourced from S&amp;P Global Market Intelligence.</a:t>
            </a:r>
          </a:p>
        </p:txBody>
      </p:sp>
      <p:graphicFrame>
        <p:nvGraphicFramePr>
          <p:cNvPr id="2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40930915"/>
              </p:ext>
            </p:extLst>
          </p:nvPr>
        </p:nvGraphicFramePr>
        <p:xfrm>
          <a:off x="314486" y="1442961"/>
          <a:ext cx="8468432" cy="42908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PPTShape_1"/>
          <p:cNvSpPr>
            <a:spLocks noChangeArrowheads="1"/>
          </p:cNvSpPr>
          <p:nvPr/>
        </p:nvSpPr>
        <p:spPr bwMode="gray">
          <a:xfrm>
            <a:off x="651888" y="5733785"/>
            <a:ext cx="8162928" cy="560996"/>
          </a:xfrm>
          <a:prstGeom prst="rect">
            <a:avLst/>
          </a:pr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tIns="45720" bIns="45720" anchor="ctr"/>
          <a:lstStyle/>
          <a:p>
            <a:pPr algn="ctr"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Allied Lines, Mortgage and Inland Marine results deteriorated in first half; note Auto, GL deteriorated (slightly), even in hard marke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2196317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ommercial Lines Rate Changes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050" dirty="0"/>
              <a:t>Sources: Willis Towers Watson, MarketScout, Marsh.</a:t>
            </a:r>
          </a:p>
        </p:txBody>
      </p:sp>
      <p:sp>
        <p:nvSpPr>
          <p:cNvPr id="14" name="Text Placeholder 4"/>
          <p:cNvSpPr txBox="1">
            <a:spLocks/>
          </p:cNvSpPr>
          <p:nvPr/>
        </p:nvSpPr>
        <p:spPr bwMode="gray">
          <a:xfrm>
            <a:off x="617183" y="5659742"/>
            <a:ext cx="8186058" cy="65042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600" dirty="0"/>
              <a:t>Fastest rate increases in almost 20 years.</a:t>
            </a:r>
          </a:p>
        </p:txBody>
      </p:sp>
      <p:graphicFrame>
        <p:nvGraphicFramePr>
          <p:cNvPr id="15" name="Content Placehold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4064954"/>
              </p:ext>
            </p:extLst>
          </p:nvPr>
        </p:nvGraphicFramePr>
        <p:xfrm>
          <a:off x="231775" y="1216025"/>
          <a:ext cx="8680450" cy="4402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2100835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666AF-D2DA-40EE-B209-A6604DEC6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rcial Rate Chang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2A9B8A-F4BC-4465-8539-7DDBFCDD365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y Line, 2020:Q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12CE57-127F-4966-8C6B-B7C7C2413AD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MarketScout.</a:t>
            </a:r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489A13A9-26E0-47FB-A52C-F90CA94DBDF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30726841"/>
              </p:ext>
            </p:extLst>
          </p:nvPr>
        </p:nvGraphicFramePr>
        <p:xfrm>
          <a:off x="356616" y="1585667"/>
          <a:ext cx="8458200" cy="415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095530D-99B1-4911-9F5A-BB9F069FBBDF}"/>
              </a:ext>
            </a:extLst>
          </p:cNvPr>
          <p:cNvSpPr txBox="1">
            <a:spLocks/>
          </p:cNvSpPr>
          <p:nvPr/>
        </p:nvSpPr>
        <p:spPr bwMode="gray">
          <a:xfrm>
            <a:off x="617183" y="5659742"/>
            <a:ext cx="8186058" cy="65042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600" dirty="0"/>
              <a:t>All of these are larger than previous quarter. Overall, largest rate increases in almost 20 years.</a:t>
            </a:r>
          </a:p>
        </p:txBody>
      </p:sp>
    </p:spTree>
    <p:extLst>
      <p:ext uri="{BB962C8B-B14F-4D97-AF65-F5344CB8AC3E}">
        <p14:creationId xmlns:p14="http://schemas.microsoft.com/office/powerpoint/2010/main" val="1862038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0F0F6E-30A0-45D6-8EEF-4CAA95D88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rving Trend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A5909C-F106-476B-886E-914598DDA3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s the cupboard getting bare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8169394-6610-482A-AE9D-F0F73E5FFD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* </a:t>
            </a:r>
            <a:r>
              <a:rPr lang="fr-FR" dirty="0" err="1"/>
              <a:t>Older</a:t>
            </a:r>
            <a:r>
              <a:rPr lang="fr-FR" dirty="0"/>
              <a:t> claims are more </a:t>
            </a:r>
            <a:r>
              <a:rPr lang="fr-FR" dirty="0" err="1"/>
              <a:t>than</a:t>
            </a:r>
            <a:r>
              <a:rPr lang="fr-FR" dirty="0"/>
              <a:t> 42 </a:t>
            </a:r>
            <a:r>
              <a:rPr lang="fr-FR" dirty="0" err="1"/>
              <a:t>months</a:t>
            </a:r>
            <a:r>
              <a:rPr lang="fr-FR" dirty="0"/>
              <a:t> </a:t>
            </a:r>
            <a:r>
              <a:rPr lang="fr-FR" dirty="0" err="1"/>
              <a:t>old</a:t>
            </a:r>
            <a:r>
              <a:rPr lang="fr-FR" dirty="0"/>
              <a:t>, e.g. 2017 and </a:t>
            </a:r>
            <a:r>
              <a:rPr lang="fr-FR" dirty="0" err="1"/>
              <a:t>prior</a:t>
            </a:r>
            <a:r>
              <a:rPr lang="fr-FR" dirty="0"/>
              <a:t> as of Q22020.</a:t>
            </a:r>
          </a:p>
          <a:p>
            <a:r>
              <a:rPr lang="fr-FR" dirty="0"/>
              <a:t>Source: NAIC data, </a:t>
            </a:r>
            <a:r>
              <a:rPr lang="fr-FR" dirty="0" err="1"/>
              <a:t>sourc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S&amp;P Global </a:t>
            </a:r>
            <a:r>
              <a:rPr lang="fr-FR" dirty="0" err="1"/>
              <a:t>Market</a:t>
            </a:r>
            <a:r>
              <a:rPr lang="fr-FR" dirty="0"/>
              <a:t> Intelligence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CF03A86-A036-40C3-901F-19AE55F0F9F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CY2019 Loss Developmen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4A21D56-7D73-46B9-9E6F-16404F04DF2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CY Development on Older* Claims as of Mid-Year</a:t>
            </a: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97A01687-3D7A-4EF5-BCDC-997F3D2D8E05}"/>
              </a:ext>
            </a:extLst>
          </p:cNvPr>
          <p:cNvGraphicFramePr>
            <a:graphicFrameLocks noGrp="1"/>
          </p:cNvGraphicFramePr>
          <p:nvPr>
            <p:ph sz="quarter" idx="33"/>
            <p:extLst>
              <p:ext uri="{D42A27DB-BD31-4B8C-83A1-F6EECF244321}">
                <p14:modId xmlns:p14="http://schemas.microsoft.com/office/powerpoint/2010/main" val="2434729980"/>
              </p:ext>
            </p:extLst>
          </p:nvPr>
        </p:nvGraphicFramePr>
        <p:xfrm>
          <a:off x="357188" y="2378075"/>
          <a:ext cx="4148137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CFBE33CD-AABD-4CD4-81B7-89F59F346F7D}"/>
              </a:ext>
            </a:extLst>
          </p:cNvPr>
          <p:cNvGraphicFramePr>
            <a:graphicFrameLocks noGrp="1"/>
          </p:cNvGraphicFramePr>
          <p:nvPr>
            <p:ph sz="quarter" idx="34"/>
            <p:extLst>
              <p:ext uri="{D42A27DB-BD31-4B8C-83A1-F6EECF244321}">
                <p14:modId xmlns:p14="http://schemas.microsoft.com/office/powerpoint/2010/main" val="3290135630"/>
              </p:ext>
            </p:extLst>
          </p:nvPr>
        </p:nvGraphicFramePr>
        <p:xfrm>
          <a:off x="4668838" y="2378075"/>
          <a:ext cx="4151312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5458841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2F637-9D1C-463B-A368-89C1BB78B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1 Foreca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DA6F43-4218-452E-A9FC-68B8295B64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ocial inflation, uncertainty drive the hard marke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556509-294B-4ED1-83F2-9175E51477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Willis Insurance Marketplace Realities, November 2020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F8811A-AD18-4E72-914B-3535DE3D5D6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Rate Projectio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F1E39F-A57D-4914-A16E-725A983F7DA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Market Influences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DEAD5301-42EB-4F23-94C3-1214739DFDD3}"/>
              </a:ext>
            </a:extLst>
          </p:cNvPr>
          <p:cNvGraphicFramePr>
            <a:graphicFrameLocks noGrp="1"/>
          </p:cNvGraphicFramePr>
          <p:nvPr>
            <p:ph sz="quarter" idx="33"/>
            <p:extLst>
              <p:ext uri="{D42A27DB-BD31-4B8C-83A1-F6EECF244321}">
                <p14:modId xmlns:p14="http://schemas.microsoft.com/office/powerpoint/2010/main" val="1469539458"/>
              </p:ext>
            </p:extLst>
          </p:nvPr>
        </p:nvGraphicFramePr>
        <p:xfrm>
          <a:off x="357188" y="2378075"/>
          <a:ext cx="4148136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4068">
                  <a:extLst>
                    <a:ext uri="{9D8B030D-6E8A-4147-A177-3AD203B41FA5}">
                      <a16:colId xmlns:a16="http://schemas.microsoft.com/office/drawing/2014/main" val="774483692"/>
                    </a:ext>
                  </a:extLst>
                </a:gridCol>
                <a:gridCol w="2074068">
                  <a:extLst>
                    <a:ext uri="{9D8B030D-6E8A-4147-A177-3AD203B41FA5}">
                      <a16:colId xmlns:a16="http://schemas.microsoft.com/office/drawing/2014/main" val="32181236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1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09528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p 15 to 2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15646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p 7.5% to 1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50174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mbrella/X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p 30% to 1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193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l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3868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mm Au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p 8% to 1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3234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&amp;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p to 7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63094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y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p 10% to 3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9018451"/>
                  </a:ext>
                </a:extLst>
              </a:tr>
            </a:tbl>
          </a:graphicData>
        </a:graphic>
      </p:graphicFrame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3F0C1E83-EAA1-492A-8638-3684EBFD4F1A}"/>
              </a:ext>
            </a:extLst>
          </p:cNvPr>
          <p:cNvGraphicFramePr>
            <a:graphicFrameLocks noGrp="1"/>
          </p:cNvGraphicFramePr>
          <p:nvPr>
            <p:ph sz="quarter" idx="34"/>
            <p:extLst>
              <p:ext uri="{D42A27DB-BD31-4B8C-83A1-F6EECF244321}">
                <p14:modId xmlns:p14="http://schemas.microsoft.com/office/powerpoint/2010/main" val="474372668"/>
              </p:ext>
            </p:extLst>
          </p:nvPr>
        </p:nvGraphicFramePr>
        <p:xfrm>
          <a:off x="4668838" y="2378075"/>
          <a:ext cx="4151312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56">
                  <a:extLst>
                    <a:ext uri="{9D8B030D-6E8A-4147-A177-3AD203B41FA5}">
                      <a16:colId xmlns:a16="http://schemas.microsoft.com/office/drawing/2014/main" val="2175173564"/>
                    </a:ext>
                  </a:extLst>
                </a:gridCol>
                <a:gridCol w="2075656">
                  <a:extLst>
                    <a:ext uri="{9D8B030D-6E8A-4147-A177-3AD203B41FA5}">
                      <a16:colId xmlns:a16="http://schemas.microsoft.com/office/drawing/2014/main" val="23237933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r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4177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ats, COV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8474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ocial infl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52457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mbrella/X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ocial infl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17515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V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19066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mm Au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ocial infl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1041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&amp;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VID, IE&amp;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04015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y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V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93684"/>
                  </a:ext>
                </a:extLst>
              </a:tr>
            </a:tbl>
          </a:graphicData>
        </a:graphic>
      </p:graphicFrame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765A0C7-9B6B-4221-8642-B813797BFEC1}"/>
              </a:ext>
            </a:extLst>
          </p:cNvPr>
          <p:cNvSpPr txBox="1">
            <a:spLocks/>
          </p:cNvSpPr>
          <p:nvPr/>
        </p:nvSpPr>
        <p:spPr bwMode="gray">
          <a:xfrm>
            <a:off x="323787" y="5494573"/>
            <a:ext cx="4148136" cy="65042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600" dirty="0"/>
              <a:t>These are all higher than spring projections.</a:t>
            </a:r>
          </a:p>
        </p:txBody>
      </p:sp>
    </p:spTree>
    <p:extLst>
      <p:ext uri="{BB962C8B-B14F-4D97-AF65-F5344CB8AC3E}">
        <p14:creationId xmlns:p14="http://schemas.microsoft.com/office/powerpoint/2010/main" val="382433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EB168-0DB9-4C0C-AB4B-A37A718BE1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ocial Infl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6D3319-B47B-4C34-98A9-657BD426314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 Actuarial Examination</a:t>
            </a:r>
          </a:p>
        </p:txBody>
      </p:sp>
    </p:spTree>
    <p:extLst>
      <p:ext uri="{BB962C8B-B14F-4D97-AF65-F5344CB8AC3E}">
        <p14:creationId xmlns:p14="http://schemas.microsoft.com/office/powerpoint/2010/main" val="2237653456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843A54-22D2-40F2-971B-1E839E9CC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Inf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8C9D4E-D6F8-4AE0-B727-F7EDAA1482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3200" dirty="0"/>
              <a:t>A Good Definition</a:t>
            </a:r>
          </a:p>
          <a:p>
            <a:r>
              <a:rPr lang="en-US" dirty="0"/>
              <a:t>“a fancy term to describe rising litigation costs and their impact on insurers’ claim payouts, loss ratios, and, ultimately, how much policyholders pay for coverage.”</a:t>
            </a:r>
          </a:p>
          <a:p>
            <a:pPr marL="0" indent="0">
              <a:buNone/>
            </a:pPr>
            <a:r>
              <a:rPr lang="en-US" sz="3200" dirty="0"/>
              <a:t>Actuarial Interpretation</a:t>
            </a:r>
          </a:p>
          <a:p>
            <a:r>
              <a:rPr lang="en-US" dirty="0"/>
              <a:t>“Excessive inflation in claims.”</a:t>
            </a:r>
          </a:p>
          <a:p>
            <a:pPr lvl="1"/>
            <a:r>
              <a:rPr lang="en-US" dirty="0"/>
              <a:t>Occurs when development defies key assumption: Loss Development is RV about stable mean</a:t>
            </a:r>
          </a:p>
          <a:p>
            <a:pPr marL="0" indent="0">
              <a:buNone/>
            </a:pPr>
            <a:endParaRPr lang="en-US" sz="3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011FF-3BBC-4A88-8DB2-301226A415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ing to Term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8CFE87-D591-4DE1-A39A-47280FA14C2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523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6039F-6C93-4E70-A316-1C96D5F918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Financial Pi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4D3CB7-8CEB-4F42-B33D-25B8EA3E71F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2020: COVID and Cats</a:t>
            </a:r>
          </a:p>
        </p:txBody>
      </p:sp>
    </p:spTree>
    <p:extLst>
      <p:ext uri="{BB962C8B-B14F-4D97-AF65-F5344CB8AC3E}">
        <p14:creationId xmlns:p14="http://schemas.microsoft.com/office/powerpoint/2010/main" val="85537767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5B0F7-83D4-4914-8873-FA1891F51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iple-I Analysi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923175E-A041-42AC-A2B4-A26847CA839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dirty="0"/>
                  <a:t>Hypothesis: Rising LDFs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en-US" dirty="0"/>
                  <a:t> Social Inflation</a:t>
                </a:r>
              </a:p>
              <a:p>
                <a:r>
                  <a:rPr lang="en-US" dirty="0"/>
                  <a:t>Method:</a:t>
                </a:r>
              </a:p>
              <a:p>
                <a:pPr lvl="1"/>
                <a:r>
                  <a:rPr lang="en-US" dirty="0"/>
                  <a:t>Focus on Long-Tailed Liability Lines</a:t>
                </a:r>
              </a:p>
              <a:p>
                <a:pPr lvl="2"/>
                <a:r>
                  <a:rPr lang="en-US" dirty="0"/>
                  <a:t>Minimizes Catastrophe’s Impact</a:t>
                </a:r>
              </a:p>
              <a:p>
                <a:pPr lvl="2"/>
                <a:r>
                  <a:rPr lang="en-US" dirty="0"/>
                  <a:t>12:120 LDF &gt; 1.8 (Workers Comp)</a:t>
                </a:r>
              </a:p>
              <a:p>
                <a:pPr lvl="2"/>
                <a:r>
                  <a:rPr lang="en-US" dirty="0"/>
                  <a:t>Included: Comm Auto Liability, </a:t>
                </a:r>
                <a:r>
                  <a:rPr lang="en-US" dirty="0" err="1"/>
                  <a:t>MedMal</a:t>
                </a:r>
                <a:r>
                  <a:rPr lang="en-US" dirty="0"/>
                  <a:t>, Other Liability, Product Liability</a:t>
                </a:r>
              </a:p>
              <a:p>
                <a:pPr lvl="2"/>
                <a:r>
                  <a:rPr lang="en-US" dirty="0"/>
                  <a:t>Excluded: Personal Auto Liability, Workers Comp, Special Liability</a:t>
                </a:r>
              </a:p>
              <a:p>
                <a:pPr lvl="1"/>
                <a:r>
                  <a:rPr lang="en-US" dirty="0"/>
                  <a:t>Look for Rising LDFs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923175E-A041-42AC-A2B4-A26847CA839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60" t="-181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F1D880-6234-4AA2-B4FF-74EF58CA0B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at We Studied and Wh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EC41EC-D504-41EC-8909-2F5F851C82F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8450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A9509-9E5A-44B1-9183-540FB16EC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ward Creep in Loss Developme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87A150-2D9F-44EE-A6F8-6B6BE510DA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Key Assumption: LDF is RV about mean + infl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EDC6E1-5E1A-47EC-8D94-7B102F0942B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100" dirty="0"/>
              <a:t>Source: NAIC data, sourced from S&amp;P Global Intelligence; Insurance Information Institute. Expected: 3-yr Straight Average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A115BA1-1139-4BAA-B9B2-F9F5218B127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Comm Auto LDF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EDFA289-3568-4A05-834A-55DE8B56537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2-Year Expected vs. Actual</a:t>
            </a:r>
          </a:p>
        </p:txBody>
      </p:sp>
      <p:graphicFrame>
        <p:nvGraphicFramePr>
          <p:cNvPr id="14" name="Table 14">
            <a:extLst>
              <a:ext uri="{FF2B5EF4-FFF2-40B4-BE49-F238E27FC236}">
                <a16:creationId xmlns:a16="http://schemas.microsoft.com/office/drawing/2014/main" id="{3CB344F7-6C84-4EE1-9D8E-34EA8B92B7BB}"/>
              </a:ext>
            </a:extLst>
          </p:cNvPr>
          <p:cNvGraphicFramePr>
            <a:graphicFrameLocks noGrp="1"/>
          </p:cNvGraphicFramePr>
          <p:nvPr>
            <p:ph sz="quarter" idx="33"/>
          </p:nvPr>
        </p:nvGraphicFramePr>
        <p:xfrm>
          <a:off x="357188" y="2378075"/>
          <a:ext cx="4148135" cy="37084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829627">
                  <a:extLst>
                    <a:ext uri="{9D8B030D-6E8A-4147-A177-3AD203B41FA5}">
                      <a16:colId xmlns:a16="http://schemas.microsoft.com/office/drawing/2014/main" val="3329131339"/>
                    </a:ext>
                  </a:extLst>
                </a:gridCol>
                <a:gridCol w="829627">
                  <a:extLst>
                    <a:ext uri="{9D8B030D-6E8A-4147-A177-3AD203B41FA5}">
                      <a16:colId xmlns:a16="http://schemas.microsoft.com/office/drawing/2014/main" val="1224123143"/>
                    </a:ext>
                  </a:extLst>
                </a:gridCol>
                <a:gridCol w="829627">
                  <a:extLst>
                    <a:ext uri="{9D8B030D-6E8A-4147-A177-3AD203B41FA5}">
                      <a16:colId xmlns:a16="http://schemas.microsoft.com/office/drawing/2014/main" val="1966355662"/>
                    </a:ext>
                  </a:extLst>
                </a:gridCol>
                <a:gridCol w="829627">
                  <a:extLst>
                    <a:ext uri="{9D8B030D-6E8A-4147-A177-3AD203B41FA5}">
                      <a16:colId xmlns:a16="http://schemas.microsoft.com/office/drawing/2014/main" val="3377023243"/>
                    </a:ext>
                  </a:extLst>
                </a:gridCol>
                <a:gridCol w="829627">
                  <a:extLst>
                    <a:ext uri="{9D8B030D-6E8A-4147-A177-3AD203B41FA5}">
                      <a16:colId xmlns:a16="http://schemas.microsoft.com/office/drawing/2014/main" val="7638020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2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3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48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4395308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200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34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14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08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S Sans Serif"/>
                          <a:ea typeface="+mn-ea"/>
                          <a:cs typeface="+mn-cs"/>
                        </a:rPr>
                        <a:t>1.03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6725071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201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36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16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08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S Sans Serif"/>
                          <a:ea typeface="+mn-ea"/>
                          <a:cs typeface="+mn-cs"/>
                        </a:rPr>
                        <a:t>1.04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101058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40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16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08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S Sans Serif"/>
                          <a:ea typeface="+mn-ea"/>
                          <a:cs typeface="+mn-cs"/>
                        </a:rPr>
                        <a:t>1.04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320981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201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40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16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09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S Sans Serif"/>
                          <a:ea typeface="+mn-ea"/>
                          <a:cs typeface="+mn-cs"/>
                        </a:rPr>
                        <a:t>1.04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276912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201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41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18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10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S Sans Serif"/>
                          <a:ea typeface="+mn-ea"/>
                          <a:cs typeface="+mn-cs"/>
                        </a:rPr>
                        <a:t>1.04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183907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201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42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19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10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S Sans Serif"/>
                          <a:ea typeface="+mn-ea"/>
                          <a:cs typeface="+mn-cs"/>
                        </a:rPr>
                        <a:t>1.05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519483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201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45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18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11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313027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201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43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20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MS Sans Serif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981790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201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MS Sans Serif"/>
                        </a:rPr>
                        <a:t>1.44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MS Sans Serif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MS Sans Serif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20329986"/>
                  </a:ext>
                </a:extLst>
              </a:tr>
            </a:tbl>
          </a:graphicData>
        </a:graphic>
      </p:graphicFrame>
      <p:graphicFrame>
        <p:nvGraphicFramePr>
          <p:cNvPr id="18" name="Content Placeholder 17">
            <a:extLst>
              <a:ext uri="{FF2B5EF4-FFF2-40B4-BE49-F238E27FC236}">
                <a16:creationId xmlns:a16="http://schemas.microsoft.com/office/drawing/2014/main" id="{EDC837F7-A822-4A32-B9DE-E3E05CA65706}"/>
              </a:ext>
            </a:extLst>
          </p:cNvPr>
          <p:cNvGraphicFramePr>
            <a:graphicFrameLocks noGrp="1"/>
          </p:cNvGraphicFramePr>
          <p:nvPr>
            <p:ph sz="quarter" idx="34"/>
          </p:nvPr>
        </p:nvGraphicFramePr>
        <p:xfrm>
          <a:off x="4668838" y="2854711"/>
          <a:ext cx="4151312" cy="3440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33507C22-4DE0-4A93-ADA6-36CE587D43BA}"/>
              </a:ext>
            </a:extLst>
          </p:cNvPr>
          <p:cNvSpPr txBox="1"/>
          <p:nvPr/>
        </p:nvSpPr>
        <p:spPr>
          <a:xfrm>
            <a:off x="4668090" y="2433566"/>
            <a:ext cx="2937042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12-36 Development ($ Millions)</a:t>
            </a:r>
          </a:p>
        </p:txBody>
      </p:sp>
    </p:spTree>
    <p:extLst>
      <p:ext uri="{BB962C8B-B14F-4D97-AF65-F5344CB8AC3E}">
        <p14:creationId xmlns:p14="http://schemas.microsoft.com/office/powerpoint/2010/main" val="1919677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500"/>
                                        <p:tgtEl>
                                          <p:spTgt spid="18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500" fill="hold"/>
                                        <p:tgtEl>
                                          <p:spTgt spid="18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500" fill="hold"/>
                                        <p:tgtEl>
                                          <p:spTgt spid="18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8">
                                            <p:graphicEl>
                                              <a:chart seriesIdx="1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8">
                                            <p:graphicEl>
                                              <a:chart seriesIdx="1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8">
                                            <p:graphicEl>
                                              <a:chart seriesIdx="1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8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8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8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8">
                                            <p:graphicEl>
                                              <a:chart seriesIdx="1" categoryIdx="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8">
                                            <p:graphicEl>
                                              <a:chart seriesIdx="1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8">
                                            <p:graphicEl>
                                              <a:chart seriesIdx="1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8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8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8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18">
                                            <p:graphicEl>
                                              <a:chart seriesIdx="1" categoryIdx="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8">
                                            <p:graphicEl>
                                              <a:chart seriesIdx="1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8">
                                            <p:graphicEl>
                                              <a:chart seriesIdx="1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18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8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8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18">
                                            <p:graphicEl>
                                              <a:chart seriesIdx="1" categoryIdx="3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8">
                                            <p:graphicEl>
                                              <a:chart seriesIdx="1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8">
                                            <p:graphicEl>
                                              <a:chart seriesIdx="1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18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18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18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18">
                                            <p:graphicEl>
                                              <a:chart seriesIdx="1" categoryIdx="4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18">
                                            <p:graphicEl>
                                              <a:chart seriesIdx="1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18">
                                            <p:graphicEl>
                                              <a:chart seriesIdx="1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 animBg="1"/>
      <p:bldGraphic spid="18" grpId="0" uiExpand="1">
        <p:bldSub>
          <a:bldChart bld="categoryEl"/>
        </p:bldSub>
      </p:bldGraphic>
      <p:bldP spid="1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>
          <a:xfrm>
            <a:off x="356616" y="465438"/>
            <a:ext cx="7900416" cy="558208"/>
          </a:xfrm>
        </p:spPr>
        <p:txBody>
          <a:bodyPr/>
          <a:lstStyle/>
          <a:p>
            <a:r>
              <a:rPr lang="en-US" dirty="0"/>
              <a:t>Social Inflation: The Tol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72D127-0CE2-4ECA-A403-40382187D5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 data </a:t>
            </a:r>
            <a:r>
              <a:rPr lang="en-US" dirty="0"/>
              <a:t>sourced</a:t>
            </a:r>
            <a:r>
              <a:rPr lang="fr-FR" dirty="0"/>
              <a:t> </a:t>
            </a:r>
            <a:r>
              <a:rPr lang="en-US" dirty="0"/>
              <a:t>from</a:t>
            </a:r>
            <a:r>
              <a:rPr lang="fr-FR" dirty="0"/>
              <a:t> S&amp;P </a:t>
            </a:r>
            <a:r>
              <a:rPr lang="en-US" dirty="0"/>
              <a:t>Market</a:t>
            </a:r>
            <a:r>
              <a:rPr lang="fr-FR" dirty="0"/>
              <a:t> Intelligence; Insurance Information Institute.</a:t>
            </a:r>
            <a:endParaRPr lang="en-US" dirty="0"/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90A8DE3B-8EB0-4DBC-83DF-04F20B11BCE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64406368"/>
              </p:ext>
            </p:extLst>
          </p:nvPr>
        </p:nvGraphicFramePr>
        <p:xfrm>
          <a:off x="243281" y="1921477"/>
          <a:ext cx="8352080" cy="4149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7FA6CB9-CFEA-4A76-B44D-D793CCF99E54}"/>
              </a:ext>
            </a:extLst>
          </p:cNvPr>
          <p:cNvSpPr txBox="1"/>
          <p:nvPr/>
        </p:nvSpPr>
        <p:spPr>
          <a:xfrm>
            <a:off x="555016" y="1635246"/>
            <a:ext cx="1157680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Mill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B281A3-AADD-479A-8928-7226A4A2D9D4}"/>
              </a:ext>
            </a:extLst>
          </p:cNvPr>
          <p:cNvSpPr txBox="1"/>
          <p:nvPr/>
        </p:nvSpPr>
        <p:spPr>
          <a:xfrm>
            <a:off x="3958683" y="1778362"/>
            <a:ext cx="3724712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Additions to Claim Reserv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A9A789-4BEB-4BA9-8832-A1D3412CD0E0}"/>
              </a:ext>
            </a:extLst>
          </p:cNvPr>
          <p:cNvSpPr txBox="1"/>
          <p:nvPr/>
        </p:nvSpPr>
        <p:spPr>
          <a:xfrm>
            <a:off x="2910366" y="5083014"/>
            <a:ext cx="3724712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Reductions from Claim Reserv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927A45-A36C-4B56-8884-C9609DC3C9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616" y="1188720"/>
            <a:ext cx="8454009" cy="396947"/>
          </a:xfrm>
        </p:spPr>
        <p:txBody>
          <a:bodyPr/>
          <a:lstStyle/>
          <a:p>
            <a:r>
              <a:rPr lang="en-US" dirty="0"/>
              <a:t>Reserve Development, Commercial Auto Liabilit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4464314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34718-D4A5-4CCE-94D9-A71BE686B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’s Not Just Aut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85B219-B6DF-4937-9E50-E4A3B783F9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12:36 Loss Development Factors by Year, Long-Tailed Lin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395048-878E-46E9-9B05-4CE61D8E31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33856" y="6205221"/>
            <a:ext cx="7680960" cy="500869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dical Malpractice Occurrence, Other Liability Claims-Made, Products Liability Occurrence, Products Liability Claims-Made.</a:t>
            </a:r>
          </a:p>
          <a:p>
            <a:r>
              <a:rPr lang="en-US" dirty="0"/>
              <a:t>Estimate assumes 24:36 Factor is straight average of previous three years.</a:t>
            </a:r>
          </a:p>
          <a:p>
            <a:r>
              <a:rPr lang="en-US" dirty="0"/>
              <a:t>Source: NAIC data, sourced from S&amp;P Global Market Intelligence; Insurance Information Institute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2B90F8-18EA-4CD3-8C0D-20EACB9BAED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Commercial Aut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93F715-6AC6-456A-90AD-5587AC7A81F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 err="1"/>
              <a:t>MedMal</a:t>
            </a:r>
            <a:r>
              <a:rPr lang="en-US" dirty="0"/>
              <a:t> Claims-Ma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447F22-07D5-4129-9382-17DDFF76BF8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US" dirty="0"/>
              <a:t>Other Liability Occurrenc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3485C76-476B-4397-82FE-5E016C704DA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US" dirty="0"/>
              <a:t>Other Long-Tailed Lines*</a:t>
            </a:r>
          </a:p>
        </p:txBody>
      </p:sp>
      <p:graphicFrame>
        <p:nvGraphicFramePr>
          <p:cNvPr id="19" name="Content Placeholder 18">
            <a:extLst>
              <a:ext uri="{FF2B5EF4-FFF2-40B4-BE49-F238E27FC236}">
                <a16:creationId xmlns:a16="http://schemas.microsoft.com/office/drawing/2014/main" id="{BF85932E-CDC5-491D-A544-706CA5E2CC3F}"/>
              </a:ext>
            </a:extLst>
          </p:cNvPr>
          <p:cNvGraphicFramePr>
            <a:graphicFrameLocks noGrp="1"/>
          </p:cNvGraphicFramePr>
          <p:nvPr>
            <p:ph sz="quarter" idx="37"/>
          </p:nvPr>
        </p:nvGraphicFramePr>
        <p:xfrm>
          <a:off x="357188" y="2378075"/>
          <a:ext cx="4148137" cy="1416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2" name="Content Placeholder 21">
            <a:extLst>
              <a:ext uri="{FF2B5EF4-FFF2-40B4-BE49-F238E27FC236}">
                <a16:creationId xmlns:a16="http://schemas.microsoft.com/office/drawing/2014/main" id="{DA0407BF-C0AE-4F75-BE90-43469896B2DE}"/>
              </a:ext>
            </a:extLst>
          </p:cNvPr>
          <p:cNvGraphicFramePr>
            <a:graphicFrameLocks noGrp="1"/>
          </p:cNvGraphicFramePr>
          <p:nvPr>
            <p:ph sz="quarter" idx="38"/>
          </p:nvPr>
        </p:nvGraphicFramePr>
        <p:xfrm>
          <a:off x="4668838" y="2378075"/>
          <a:ext cx="4151312" cy="1416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" name="Content Placeholder 24">
            <a:extLst>
              <a:ext uri="{FF2B5EF4-FFF2-40B4-BE49-F238E27FC236}">
                <a16:creationId xmlns:a16="http://schemas.microsoft.com/office/drawing/2014/main" id="{D4CB4EDF-B2FF-4A79-B516-56D42C171523}"/>
              </a:ext>
            </a:extLst>
          </p:cNvPr>
          <p:cNvGraphicFramePr>
            <a:graphicFrameLocks noGrp="1"/>
          </p:cNvGraphicFramePr>
          <p:nvPr>
            <p:ph sz="quarter" idx="39"/>
          </p:nvPr>
        </p:nvGraphicFramePr>
        <p:xfrm>
          <a:off x="357188" y="4708525"/>
          <a:ext cx="4148137" cy="1417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8" name="Content Placeholder 27">
            <a:extLst>
              <a:ext uri="{FF2B5EF4-FFF2-40B4-BE49-F238E27FC236}">
                <a16:creationId xmlns:a16="http://schemas.microsoft.com/office/drawing/2014/main" id="{F8141A14-DEAF-42C2-95FC-E37AFCADE9CC}"/>
              </a:ext>
            </a:extLst>
          </p:cNvPr>
          <p:cNvGraphicFramePr>
            <a:graphicFrameLocks noGrp="1"/>
          </p:cNvGraphicFramePr>
          <p:nvPr>
            <p:ph sz="quarter" idx="40"/>
          </p:nvPr>
        </p:nvGraphicFramePr>
        <p:xfrm>
          <a:off x="4668838" y="4708525"/>
          <a:ext cx="4152900" cy="1417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376230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5989E-A1D0-4112-A2E1-5CE03DBEEB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t Is Happen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1C89D8-FD2A-4F63-8DC4-C1B8D1E836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y Social Inflation Hits Insura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90E51D-61D2-4D5D-8C2D-2C9E7BE19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Bureau of Labor Statistics (via FRED), Gallup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DE9883-F040-47CB-B3D5-BC3D8BF6D28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Overall Inflation Remains Stead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EECBA8F-D222-4DB9-A8DA-F1CBA36277F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Who Solves Problems?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AF630AB1-A91D-4754-A465-19489CC3FFF5}"/>
              </a:ext>
            </a:extLst>
          </p:cNvPr>
          <p:cNvGraphicFramePr>
            <a:graphicFrameLocks noGrp="1"/>
          </p:cNvGraphicFramePr>
          <p:nvPr>
            <p:ph sz="quarter" idx="33"/>
          </p:nvPr>
        </p:nvGraphicFramePr>
        <p:xfrm>
          <a:off x="357188" y="2378075"/>
          <a:ext cx="4148137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A2920A9D-D378-4589-9550-4A91E3778A00}"/>
              </a:ext>
            </a:extLst>
          </p:cNvPr>
          <p:cNvGraphicFramePr>
            <a:graphicFrameLocks noGrp="1"/>
          </p:cNvGraphicFramePr>
          <p:nvPr>
            <p:ph sz="quarter" idx="34"/>
            <p:extLst>
              <p:ext uri="{D42A27DB-BD31-4B8C-83A1-F6EECF244321}">
                <p14:modId xmlns:p14="http://schemas.microsoft.com/office/powerpoint/2010/main" val="207078267"/>
              </p:ext>
            </p:extLst>
          </p:nvPr>
        </p:nvGraphicFramePr>
        <p:xfrm>
          <a:off x="4668838" y="2378075"/>
          <a:ext cx="4151312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129042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46CEB-D47C-4915-80A4-A5602B76D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s It Happening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902FA-2F87-4572-858E-AE8944C0C6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ocial Trends Set the St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796D31-C2DC-4568-918F-F4A0A5A5B3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Wikipedia, Economic Policy Institute, Centers for Disease Control, Google Trends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DD5613-BBCC-4FA2-BE7C-803DF50D0A8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Big Payout Expecta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0AAFD8-3BE3-4C16-B546-250839810A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40695" y="274944"/>
            <a:ext cx="4153168" cy="640080"/>
          </a:xfrm>
        </p:spPr>
        <p:txBody>
          <a:bodyPr/>
          <a:lstStyle/>
          <a:p>
            <a:r>
              <a:rPr lang="en-US" dirty="0"/>
              <a:t>Dystopian Days</a:t>
            </a:r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BE68DA4E-9513-454A-BAC0-217F0A516BFA}"/>
              </a:ext>
            </a:extLst>
          </p:cNvPr>
          <p:cNvGraphicFramePr>
            <a:graphicFrameLocks noGrp="1"/>
          </p:cNvGraphicFramePr>
          <p:nvPr>
            <p:ph sz="quarter" idx="33"/>
          </p:nvPr>
        </p:nvGraphicFramePr>
        <p:xfrm>
          <a:off x="357188" y="2378075"/>
          <a:ext cx="4148137" cy="2478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7FF5236F-A644-4849-967D-264352ACDDAB}"/>
              </a:ext>
            </a:extLst>
          </p:cNvPr>
          <p:cNvGraphicFramePr>
            <a:graphicFrameLocks noGrp="1"/>
          </p:cNvGraphicFramePr>
          <p:nvPr>
            <p:ph sz="quarter" idx="34"/>
          </p:nvPr>
        </p:nvGraphicFramePr>
        <p:xfrm>
          <a:off x="4740695" y="989918"/>
          <a:ext cx="4151312" cy="2338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E4EB66D0-4A4E-4659-91A0-0F802D95AA7D}"/>
              </a:ext>
            </a:extLst>
          </p:cNvPr>
          <p:cNvGraphicFramePr/>
          <p:nvPr/>
        </p:nvGraphicFramePr>
        <p:xfrm>
          <a:off x="4904533" y="3363381"/>
          <a:ext cx="3777101" cy="14935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C158ACBD-DF9F-451E-B84A-5CC60A39F88F}"/>
              </a:ext>
            </a:extLst>
          </p:cNvPr>
          <p:cNvGraphicFramePr/>
          <p:nvPr/>
        </p:nvGraphicFramePr>
        <p:xfrm>
          <a:off x="462366" y="4672951"/>
          <a:ext cx="8429641" cy="1621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367963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D6B3F-96E9-4EBA-ACBA-3FE88C962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s It Happening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90E6FA-857A-498D-B376-A2FD2B71EF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he Changing Legal Environ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5ACC8A-6EE0-4715-B9B9-6B8E8AA121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Swiss Re Economic Insights, Burford Capital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02B104-3BED-4B8F-B94C-6D96129D5A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“Jackpot Justice”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FF768C-32B7-4CBB-8C88-3FFD51B9EF7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Litigation Financing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0D870AFF-C702-426C-BD1D-4DFF1089C7EB}"/>
              </a:ext>
            </a:extLst>
          </p:cNvPr>
          <p:cNvGraphicFramePr>
            <a:graphicFrameLocks noGrp="1"/>
          </p:cNvGraphicFramePr>
          <p:nvPr>
            <p:ph sz="quarter" idx="33"/>
          </p:nvPr>
        </p:nvGraphicFramePr>
        <p:xfrm>
          <a:off x="357188" y="2378075"/>
          <a:ext cx="4148137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81917C62-9D61-49F2-B501-B302289E9C5B}"/>
              </a:ext>
            </a:extLst>
          </p:cNvPr>
          <p:cNvGraphicFramePr>
            <a:graphicFrameLocks noGrp="1"/>
          </p:cNvGraphicFramePr>
          <p:nvPr>
            <p:ph sz="quarter" idx="34"/>
          </p:nvPr>
        </p:nvGraphicFramePr>
        <p:xfrm>
          <a:off x="4668838" y="3428999"/>
          <a:ext cx="4117974" cy="2697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6D2ABAC4-71D6-4D37-9182-9B0EE883DA87}"/>
              </a:ext>
            </a:extLst>
          </p:cNvPr>
          <p:cNvSpPr txBox="1"/>
          <p:nvPr/>
        </p:nvSpPr>
        <p:spPr>
          <a:xfrm>
            <a:off x="5115799" y="2362579"/>
            <a:ext cx="3069196" cy="1001270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pPr>
              <a:buClr>
                <a:srgbClr val="337DBE"/>
              </a:buClr>
              <a:buSzPct val="77000"/>
            </a:pPr>
            <a:r>
              <a:rPr lang="en-US" sz="2200" dirty="0">
                <a:solidFill>
                  <a:schemeClr val="accent1"/>
                </a:solidFill>
              </a:rPr>
              <a:t>Litigation is a financeable asset.</a:t>
            </a:r>
          </a:p>
          <a:p>
            <a:pPr algn="r">
              <a:buClr>
                <a:srgbClr val="337DBE"/>
              </a:buClr>
              <a:buSzPct val="77000"/>
            </a:pPr>
            <a:r>
              <a:rPr lang="en-US" sz="1600" i="1" dirty="0">
                <a:solidFill>
                  <a:schemeClr val="accent1"/>
                </a:solidFill>
              </a:rPr>
              <a:t>- 68% of US Law Firms</a:t>
            </a:r>
          </a:p>
        </p:txBody>
      </p:sp>
      <p:sp>
        <p:nvSpPr>
          <p:cNvPr id="18" name="Freeform 7">
            <a:extLst>
              <a:ext uri="{FF2B5EF4-FFF2-40B4-BE49-F238E27FC236}">
                <a16:creationId xmlns:a16="http://schemas.microsoft.com/office/drawing/2014/main" id="{70B3E194-E7B0-47B8-8BD6-C96E9C929A0E}"/>
              </a:ext>
            </a:extLst>
          </p:cNvPr>
          <p:cNvSpPr>
            <a:spLocks/>
          </p:cNvSpPr>
          <p:nvPr/>
        </p:nvSpPr>
        <p:spPr bwMode="gray">
          <a:xfrm>
            <a:off x="4668090" y="2433082"/>
            <a:ext cx="455315" cy="595885"/>
          </a:xfrm>
          <a:custGeom>
            <a:avLst/>
            <a:gdLst>
              <a:gd name="T0" fmla="*/ 0 w 1260"/>
              <a:gd name="T1" fmla="*/ 0 h 1649"/>
              <a:gd name="T2" fmla="*/ 0 w 1260"/>
              <a:gd name="T3" fmla="*/ 1002 h 1649"/>
              <a:gd name="T4" fmla="*/ 792 w 1260"/>
              <a:gd name="T5" fmla="*/ 1002 h 1649"/>
              <a:gd name="T6" fmla="*/ 416 w 1260"/>
              <a:gd name="T7" fmla="*/ 1649 h 1649"/>
              <a:gd name="T8" fmla="*/ 416 w 1260"/>
              <a:gd name="T9" fmla="*/ 1649 h 1649"/>
              <a:gd name="T10" fmla="*/ 1260 w 1260"/>
              <a:gd name="T11" fmla="*/ 1007 h 1649"/>
              <a:gd name="T12" fmla="*/ 1260 w 1260"/>
              <a:gd name="T13" fmla="*/ 0 h 1649"/>
              <a:gd name="T14" fmla="*/ 0 w 1260"/>
              <a:gd name="T15" fmla="*/ 0 h 16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60" h="1649">
                <a:moveTo>
                  <a:pt x="0" y="0"/>
                </a:moveTo>
                <a:lnTo>
                  <a:pt x="0" y="1002"/>
                </a:lnTo>
                <a:lnTo>
                  <a:pt x="792" y="1002"/>
                </a:lnTo>
                <a:lnTo>
                  <a:pt x="416" y="1649"/>
                </a:lnTo>
                <a:lnTo>
                  <a:pt x="416" y="1649"/>
                </a:lnTo>
                <a:lnTo>
                  <a:pt x="1260" y="1007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4047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EB168-0DB9-4C0C-AB4B-A37A718BE1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VID-19 and Insuranc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6D3319-B47B-4C34-98A9-657BD426314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39539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ight Arrow 17">
            <a:extLst>
              <a:ext uri="{FF2B5EF4-FFF2-40B4-BE49-F238E27FC236}">
                <a16:creationId xmlns:a16="http://schemas.microsoft.com/office/drawing/2014/main" id="{9678F575-4A32-1D4F-BAB7-E234993226C9}"/>
              </a:ext>
            </a:extLst>
          </p:cNvPr>
          <p:cNvSpPr/>
          <p:nvPr/>
        </p:nvSpPr>
        <p:spPr>
          <a:xfrm>
            <a:off x="438347" y="1949539"/>
            <a:ext cx="8372283" cy="2958923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 err="1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nsurance value chai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How insurance contributes to society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 bwMode="gray">
          <a:xfrm>
            <a:off x="565609" y="4962165"/>
            <a:ext cx="7550870" cy="484173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72" tIns="34286" rIns="68572" bIns="6858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500" dirty="0">
                <a:solidFill>
                  <a:schemeClr val="bg1"/>
                </a:solidFill>
              </a:rPr>
              <a:t>How did the value chain weather the pandemic?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78B9B08C-3B9E-F547-8E83-C58BCFF9ED85}"/>
              </a:ext>
            </a:extLst>
          </p:cNvPr>
          <p:cNvSpPr txBox="1">
            <a:spLocks/>
          </p:cNvSpPr>
          <p:nvPr/>
        </p:nvSpPr>
        <p:spPr bwMode="gray">
          <a:xfrm>
            <a:off x="565609" y="2792832"/>
            <a:ext cx="7550870" cy="375437"/>
          </a:xfrm>
          <a:prstGeom prst="snip1Rect">
            <a:avLst>
              <a:gd name="adj" fmla="val 29185"/>
            </a:avLst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37160" tIns="68580" rIns="137160" bIns="13716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500" dirty="0"/>
              <a:t>Protecting People &amp; Organization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0C02889-1E0E-D948-8321-33F0E9C875F5}"/>
              </a:ext>
            </a:extLst>
          </p:cNvPr>
          <p:cNvGrpSpPr/>
          <p:nvPr/>
        </p:nvGrpSpPr>
        <p:grpSpPr>
          <a:xfrm>
            <a:off x="565609" y="3221973"/>
            <a:ext cx="7550870" cy="816392"/>
            <a:chOff x="754144" y="3152963"/>
            <a:chExt cx="10067827" cy="1088523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E14B938-86F4-F448-97C5-0F579335B44E}"/>
                </a:ext>
              </a:extLst>
            </p:cNvPr>
            <p:cNvSpPr/>
            <p:nvPr/>
          </p:nvSpPr>
          <p:spPr>
            <a:xfrm>
              <a:off x="754144" y="3152963"/>
              <a:ext cx="1073757" cy="108852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50" b="1" dirty="0"/>
                <a:t>Brains + Bank Account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6A368FB-4F61-1349-9B6F-533A172D02F5}"/>
                </a:ext>
              </a:extLst>
            </p:cNvPr>
            <p:cNvSpPr/>
            <p:nvPr/>
          </p:nvSpPr>
          <p:spPr>
            <a:xfrm>
              <a:off x="2039011" y="3152963"/>
              <a:ext cx="1073757" cy="108852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dirty="0"/>
                <a:t>Create Policy/ Treaty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2378B4A-B25F-7B40-9332-BB3FFBDB574A}"/>
                </a:ext>
              </a:extLst>
            </p:cNvPr>
            <p:cNvSpPr/>
            <p:nvPr/>
          </p:nvSpPr>
          <p:spPr>
            <a:xfrm>
              <a:off x="3323878" y="3152963"/>
              <a:ext cx="1073757" cy="108852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dirty="0"/>
                <a:t>Market Policy/ Treaty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642EF95-6EB0-DC49-BE17-2F2004685898}"/>
                </a:ext>
              </a:extLst>
            </p:cNvPr>
            <p:cNvSpPr/>
            <p:nvPr/>
          </p:nvSpPr>
          <p:spPr>
            <a:xfrm>
              <a:off x="4608745" y="3152963"/>
              <a:ext cx="1073757" cy="108852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dirty="0"/>
                <a:t>Write Risk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17D238D-F4CB-B742-AC7A-7D6DB0A33BEB}"/>
                </a:ext>
              </a:extLst>
            </p:cNvPr>
            <p:cNvSpPr/>
            <p:nvPr/>
          </p:nvSpPr>
          <p:spPr>
            <a:xfrm>
              <a:off x="5893612" y="3152963"/>
              <a:ext cx="1073757" cy="108852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dirty="0"/>
                <a:t>Price Risk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5E1490D-BA74-1244-AD7B-F00FCC4D50E1}"/>
                </a:ext>
              </a:extLst>
            </p:cNvPr>
            <p:cNvSpPr/>
            <p:nvPr/>
          </p:nvSpPr>
          <p:spPr>
            <a:xfrm>
              <a:off x="7178479" y="3152963"/>
              <a:ext cx="1073757" cy="108852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dirty="0"/>
                <a:t>Perform Loss Control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6816D44-9282-484E-B352-A3CDF472ADD2}"/>
                </a:ext>
              </a:extLst>
            </p:cNvPr>
            <p:cNvSpPr/>
            <p:nvPr/>
          </p:nvSpPr>
          <p:spPr>
            <a:xfrm>
              <a:off x="8463346" y="3152963"/>
              <a:ext cx="1073757" cy="108852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dirty="0"/>
                <a:t>Settle Claims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42EF80E-5180-E149-8303-F99BCE8ECFED}"/>
                </a:ext>
              </a:extLst>
            </p:cNvPr>
            <p:cNvSpPr/>
            <p:nvPr/>
          </p:nvSpPr>
          <p:spPr>
            <a:xfrm>
              <a:off x="9748214" y="3152963"/>
              <a:ext cx="1073757" cy="108852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dirty="0"/>
                <a:t>Improve World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0699673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20A54-CA0A-4AFC-A482-572234CA8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ins: Industry is preserving its human capital</a:t>
            </a:r>
          </a:p>
        </p:txBody>
      </p:sp>
      <p:graphicFrame>
        <p:nvGraphicFramePr>
          <p:cNvPr id="18" name="Content Placeholder 17">
            <a:extLst>
              <a:ext uri="{FF2B5EF4-FFF2-40B4-BE49-F238E27FC236}">
                <a16:creationId xmlns:a16="http://schemas.microsoft.com/office/drawing/2014/main" id="{01A041E6-0103-4FBC-8102-11BF390EF2C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68728524"/>
              </p:ext>
            </p:extLst>
          </p:nvPr>
        </p:nvGraphicFramePr>
        <p:xfrm>
          <a:off x="5923755" y="2384823"/>
          <a:ext cx="2865913" cy="2961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4BD9C-1D98-4EE7-AD99-CF7E521165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teady employment among all four insurance sectors despite the recess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1193A14-33A5-4DAB-86C0-0B253F6D75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ata are seasonally adjusted.</a:t>
            </a:r>
          </a:p>
          <a:p>
            <a:r>
              <a:rPr lang="en-US" dirty="0"/>
              <a:t>Sources: BLS; Insurance Information Institute.</a:t>
            </a:r>
          </a:p>
        </p:txBody>
      </p:sp>
      <p:graphicFrame>
        <p:nvGraphicFramePr>
          <p:cNvPr id="6" name="Content Placeholder 7">
            <a:extLst>
              <a:ext uri="{FF2B5EF4-FFF2-40B4-BE49-F238E27FC236}">
                <a16:creationId xmlns:a16="http://schemas.microsoft.com/office/drawing/2014/main" id="{7B81737A-B933-4638-9B27-E147D43EA57E}"/>
              </a:ext>
            </a:extLst>
          </p:cNvPr>
          <p:cNvGraphicFramePr>
            <a:graphicFrameLocks/>
          </p:cNvGraphicFramePr>
          <p:nvPr/>
        </p:nvGraphicFramePr>
        <p:xfrm>
          <a:off x="354331" y="2385259"/>
          <a:ext cx="5481320" cy="2961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9F8D2FF0-C8A8-4C42-A08E-D3AC2332F2DE}"/>
              </a:ext>
            </a:extLst>
          </p:cNvPr>
          <p:cNvSpPr txBox="1"/>
          <p:nvPr/>
        </p:nvSpPr>
        <p:spPr>
          <a:xfrm>
            <a:off x="5209639" y="3568682"/>
            <a:ext cx="720467" cy="23775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</a:pPr>
            <a:r>
              <a:rPr lang="en-US" sz="1050" b="1" dirty="0"/>
              <a:t>2,319.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057014-472C-454C-8591-FB501C6EDFC4}"/>
              </a:ext>
            </a:extLst>
          </p:cNvPr>
          <p:cNvSpPr txBox="1"/>
          <p:nvPr/>
        </p:nvSpPr>
        <p:spPr>
          <a:xfrm>
            <a:off x="5203289" y="4327232"/>
            <a:ext cx="720467" cy="23775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</a:pPr>
            <a:r>
              <a:rPr lang="en-US" sz="1050" b="1" dirty="0"/>
              <a:t>2,238.9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FC2786-CA52-F240-87FF-2EFA3465ACA0}"/>
              </a:ext>
            </a:extLst>
          </p:cNvPr>
          <p:cNvSpPr txBox="1"/>
          <p:nvPr/>
        </p:nvSpPr>
        <p:spPr>
          <a:xfrm>
            <a:off x="354330" y="2363330"/>
            <a:ext cx="893428" cy="23775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</a:pPr>
            <a:r>
              <a:rPr lang="en-US" sz="1050" b="1" dirty="0"/>
              <a:t>Thousand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BECC6A-918E-F748-9CB5-DE2D3C05F9D7}"/>
              </a:ext>
            </a:extLst>
          </p:cNvPr>
          <p:cNvSpPr/>
          <p:nvPr/>
        </p:nvSpPr>
        <p:spPr>
          <a:xfrm>
            <a:off x="6437464" y="2363330"/>
            <a:ext cx="1898277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2020 Employment Change </a:t>
            </a:r>
            <a:b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(Through August)</a:t>
            </a:r>
          </a:p>
        </p:txBody>
      </p:sp>
    </p:spTree>
    <p:extLst>
      <p:ext uri="{BB962C8B-B14F-4D97-AF65-F5344CB8AC3E}">
        <p14:creationId xmlns:p14="http://schemas.microsoft.com/office/powerpoint/2010/main" val="52010206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4" name="Rectangle 2"/>
          <p:cNvSpPr>
            <a:spLocks noGrp="1" noChangeArrowheads="1"/>
          </p:cNvSpPr>
          <p:nvPr>
            <p:ph type="title"/>
          </p:nvPr>
        </p:nvSpPr>
        <p:spPr>
          <a:xfrm>
            <a:off x="621837" y="278543"/>
            <a:ext cx="5333012" cy="950976"/>
          </a:xfrm>
        </p:spPr>
        <p:txBody>
          <a:bodyPr/>
          <a:lstStyle/>
          <a:p>
            <a:r>
              <a:rPr lang="en-US" dirty="0"/>
              <a:t>P/C Insurance Industry </a:t>
            </a:r>
            <a:br>
              <a:rPr lang="en-US" dirty="0"/>
            </a:br>
            <a:r>
              <a:rPr lang="en-US" dirty="0"/>
              <a:t>Combined Ratio*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896815" y="6154404"/>
            <a:ext cx="7918001" cy="555394"/>
          </a:xfrm>
        </p:spPr>
        <p:txBody>
          <a:bodyPr/>
          <a:lstStyle/>
          <a:p>
            <a:pPr>
              <a:lnSpc>
                <a:spcPct val="85000"/>
              </a:lnSpc>
              <a:spcBef>
                <a:spcPts val="330"/>
              </a:spcBef>
            </a:pPr>
            <a:r>
              <a:rPr lang="en-US" sz="1100" dirty="0"/>
              <a:t>*Excludes Mortgage &amp; Financial Guaranty insurers before 2014.</a:t>
            </a:r>
            <a:br>
              <a:rPr lang="en-US" sz="1100" dirty="0"/>
            </a:br>
            <a:r>
              <a:rPr lang="en-US" sz="1100" dirty="0"/>
              <a:t>Including M&amp;FG, 2008=105.1, 2009=100.7, 2010=102.4, 2011=108.1; 2012:=103.2; 2013: = 96.1; 2014: = 97.0.                              </a:t>
            </a:r>
          </a:p>
          <a:p>
            <a:pPr>
              <a:lnSpc>
                <a:spcPct val="85000"/>
              </a:lnSpc>
              <a:spcBef>
                <a:spcPts val="330"/>
              </a:spcBef>
            </a:pPr>
            <a:r>
              <a:rPr lang="en-US" sz="1100" dirty="0"/>
              <a:t>Sources: A.M. Best; APCIA/ISO, a Verisk Analytics® business; I.I.I/Milliman.</a:t>
            </a:r>
          </a:p>
        </p:txBody>
      </p:sp>
      <p:graphicFrame>
        <p:nvGraphicFramePr>
          <p:cNvPr id="2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08602959"/>
              </p:ext>
            </p:extLst>
          </p:nvPr>
        </p:nvGraphicFramePr>
        <p:xfrm>
          <a:off x="107294" y="1292805"/>
          <a:ext cx="8351286" cy="2683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55" name="Group 54"/>
          <p:cNvGrpSpPr/>
          <p:nvPr/>
        </p:nvGrpSpPr>
        <p:grpSpPr>
          <a:xfrm>
            <a:off x="3254926" y="1225920"/>
            <a:ext cx="1956596" cy="865386"/>
            <a:chOff x="396079" y="2019523"/>
            <a:chExt cx="1956596" cy="2570137"/>
          </a:xfrm>
        </p:grpSpPr>
        <p:sp>
          <p:nvSpPr>
            <p:cNvPr id="56" name="AutoShape 7"/>
            <p:cNvSpPr>
              <a:spLocks noChangeArrowheads="1"/>
            </p:cNvSpPr>
            <p:nvPr/>
          </p:nvSpPr>
          <p:spPr bwMode="gray">
            <a:xfrm>
              <a:off x="396079" y="2019523"/>
              <a:ext cx="1956596" cy="1949888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400" b="1" dirty="0">
                  <a:solidFill>
                    <a:schemeClr val="bg1"/>
                  </a:solidFill>
                  <a:cs typeface="Arial" charset="0"/>
                </a:rPr>
                <a:t>3 Consecutive Years of U/W Profits; 1</a:t>
              </a:r>
              <a:r>
                <a:rPr lang="en-US" sz="1400" b="1" baseline="30000" dirty="0">
                  <a:solidFill>
                    <a:schemeClr val="bg1"/>
                  </a:solidFill>
                  <a:cs typeface="Arial" charset="0"/>
                </a:rPr>
                <a:t>st</a:t>
              </a:r>
              <a:r>
                <a:rPr lang="en-US" sz="1400" b="1" dirty="0">
                  <a:solidFill>
                    <a:schemeClr val="bg1"/>
                  </a:solidFill>
                  <a:cs typeface="Arial" charset="0"/>
                </a:rPr>
                <a:t> time since 1971-73</a:t>
              </a:r>
            </a:p>
          </p:txBody>
        </p:sp>
        <p:cxnSp>
          <p:nvCxnSpPr>
            <p:cNvPr id="57" name="Straight Arrow Connector 56"/>
            <p:cNvCxnSpPr>
              <a:cxnSpLocks/>
            </p:cNvCxnSpPr>
            <p:nvPr/>
          </p:nvCxnSpPr>
          <p:spPr bwMode="gray">
            <a:xfrm>
              <a:off x="1578690" y="2608707"/>
              <a:ext cx="0" cy="1980953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7"/>
          <p:cNvSpPr>
            <a:spLocks noChangeArrowheads="1"/>
          </p:cNvSpPr>
          <p:nvPr/>
        </p:nvSpPr>
        <p:spPr bwMode="grayWhite">
          <a:xfrm>
            <a:off x="2411641" y="2103133"/>
            <a:ext cx="2025896" cy="1643049"/>
          </a:xfrm>
          <a:prstGeom prst="rect">
            <a:avLst/>
          </a:prstGeom>
          <a:noFill/>
          <a:ln w="28575">
            <a:solidFill>
              <a:srgbClr val="337DBE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en-US" sz="1800"/>
          </a:p>
        </p:txBody>
      </p:sp>
      <p:grpSp>
        <p:nvGrpSpPr>
          <p:cNvPr id="24" name="Group 23"/>
          <p:cNvGrpSpPr/>
          <p:nvPr/>
        </p:nvGrpSpPr>
        <p:grpSpPr>
          <a:xfrm>
            <a:off x="4787503" y="36771"/>
            <a:ext cx="1222267" cy="1845692"/>
            <a:chOff x="1130408" y="1671440"/>
            <a:chExt cx="1222267" cy="3805967"/>
          </a:xfrm>
          <a:solidFill>
            <a:schemeClr val="accent1"/>
          </a:solidFill>
        </p:grpSpPr>
        <p:sp>
          <p:nvSpPr>
            <p:cNvPr id="35" name="AutoShape 7"/>
            <p:cNvSpPr>
              <a:spLocks noChangeArrowheads="1"/>
            </p:cNvSpPr>
            <p:nvPr/>
          </p:nvSpPr>
          <p:spPr bwMode="gray">
            <a:xfrm>
              <a:off x="1130408" y="1671440"/>
              <a:ext cx="1222267" cy="1209210"/>
            </a:xfrm>
            <a:prstGeom prst="rect">
              <a:avLst/>
            </a:prstGeom>
            <a:grpFill/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400" b="1" dirty="0">
                  <a:solidFill>
                    <a:schemeClr val="bg1"/>
                  </a:solidFill>
                  <a:cs typeface="Arial" charset="0"/>
                </a:rPr>
                <a:t>Hurricanes Harvey, Irma, Maria</a:t>
              </a:r>
            </a:p>
          </p:txBody>
        </p:sp>
        <p:cxnSp>
          <p:nvCxnSpPr>
            <p:cNvPr id="36" name="Straight Arrow Connector 35"/>
            <p:cNvCxnSpPr/>
            <p:nvPr/>
          </p:nvCxnSpPr>
          <p:spPr bwMode="gray">
            <a:xfrm>
              <a:off x="1770076" y="2888598"/>
              <a:ext cx="19074" cy="2588809"/>
            </a:xfrm>
            <a:prstGeom prst="straightConnector1">
              <a:avLst/>
            </a:prstGeom>
            <a:grpFill/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Object 4">
            <a:extLst>
              <a:ext uri="{FF2B5EF4-FFF2-40B4-BE49-F238E27FC236}">
                <a16:creationId xmlns:a16="http://schemas.microsoft.com/office/drawing/2014/main" id="{D20B1B47-3670-4628-B6C8-AE85EA23741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36554959"/>
              </p:ext>
            </p:extLst>
          </p:nvPr>
        </p:nvGraphicFramePr>
        <p:xfrm>
          <a:off x="385455" y="4196768"/>
          <a:ext cx="3796127" cy="19576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Object 4">
            <a:extLst>
              <a:ext uri="{FF2B5EF4-FFF2-40B4-BE49-F238E27FC236}">
                <a16:creationId xmlns:a16="http://schemas.microsoft.com/office/drawing/2014/main" id="{A903C35E-A25C-45FA-95F1-5758A614DB1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67388517"/>
              </p:ext>
            </p:extLst>
          </p:nvPr>
        </p:nvGraphicFramePr>
        <p:xfrm>
          <a:off x="4437537" y="4196767"/>
          <a:ext cx="3796127" cy="19576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34512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/>
          <p:cNvGraphicFramePr>
            <a:graphicFrameLocks/>
          </p:cNvGraphicFramePr>
          <p:nvPr/>
        </p:nvGraphicFramePr>
        <p:xfrm>
          <a:off x="427184" y="2264711"/>
          <a:ext cx="4155948" cy="2400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71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The bank account – Damage, then recover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CEDF72-2020-4E5B-BD45-9658303E0A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1242" y="6314409"/>
            <a:ext cx="7982678" cy="311264"/>
          </a:xfrm>
        </p:spPr>
        <p:txBody>
          <a:bodyPr/>
          <a:lstStyle/>
          <a:p>
            <a:r>
              <a:rPr lang="en-US" sz="900" dirty="0"/>
              <a:t>Sources: ISO, AM Best, Insurance Information Institute.</a:t>
            </a:r>
          </a:p>
        </p:txBody>
      </p:sp>
      <p:graphicFrame>
        <p:nvGraphicFramePr>
          <p:cNvPr id="21" name="Object 3">
            <a:extLst>
              <a:ext uri="{FF2B5EF4-FFF2-40B4-BE49-F238E27FC236}">
                <a16:creationId xmlns:a16="http://schemas.microsoft.com/office/drawing/2014/main" id="{CD8BE78A-1257-4B4E-9D23-E9CA94B76798}"/>
              </a:ext>
            </a:extLst>
          </p:cNvPr>
          <p:cNvGraphicFramePr>
            <a:graphicFrameLocks/>
          </p:cNvGraphicFramePr>
          <p:nvPr/>
        </p:nvGraphicFramePr>
        <p:xfrm>
          <a:off x="4654682" y="2264711"/>
          <a:ext cx="4155948" cy="2400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BE47638-6E25-4976-A897-E1ED3B0F45FD}"/>
              </a:ext>
            </a:extLst>
          </p:cNvPr>
          <p:cNvSpPr txBox="1">
            <a:spLocks/>
          </p:cNvSpPr>
          <p:nvPr/>
        </p:nvSpPr>
        <p:spPr bwMode="gray">
          <a:xfrm>
            <a:off x="395478" y="4764222"/>
            <a:ext cx="8353044" cy="596246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72" tIns="34286" rIns="68572" bIns="685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800" dirty="0"/>
              <a:t>Surplus has rebounded from Q1 decline caused by unrealized capital losses (stock declines)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A965B71F-FAF7-4F2A-A197-F94062C3A16A}"/>
              </a:ext>
            </a:extLst>
          </p:cNvPr>
          <p:cNvSpPr txBox="1">
            <a:spLocks/>
          </p:cNvSpPr>
          <p:nvPr/>
        </p:nvSpPr>
        <p:spPr bwMode="gray">
          <a:xfrm>
            <a:off x="4654682" y="1844104"/>
            <a:ext cx="4155948" cy="4114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68580" tIns="34290" rIns="68580" bIns="68580" rtlCol="0" anchor="ctr" anchorCtr="0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0"/>
              </a:spcBef>
              <a:buClr>
                <a:srgbClr val="337DBE"/>
              </a:buClr>
              <a:buSzPct val="77000"/>
              <a:buFontTx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/>
              <a:t>Change from Prior Quarter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F886875-30B5-4FE8-8A10-67087C257526}"/>
              </a:ext>
            </a:extLst>
          </p:cNvPr>
          <p:cNvSpPr txBox="1">
            <a:spLocks/>
          </p:cNvSpPr>
          <p:nvPr/>
        </p:nvSpPr>
        <p:spPr bwMode="gray">
          <a:xfrm>
            <a:off x="427184" y="1844104"/>
            <a:ext cx="4155948" cy="4114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68580" tIns="34290" rIns="68580" bIns="68580" rtlCol="0" anchor="ctr" anchorCtr="0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0"/>
              </a:spcBef>
              <a:buClr>
                <a:srgbClr val="337DBE"/>
              </a:buClr>
              <a:buSzPct val="77000"/>
              <a:buFontTx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/>
              <a:t>Amount of Surplus ($ Billions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1404326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B1A0C558-E71F-4636-B9F5-2B1DE2F32CC1}"/>
              </a:ext>
            </a:extLst>
          </p:cNvPr>
          <p:cNvSpPr txBox="1">
            <a:spLocks/>
          </p:cNvSpPr>
          <p:nvPr/>
        </p:nvSpPr>
        <p:spPr bwMode="gray">
          <a:xfrm>
            <a:off x="337185" y="1601417"/>
            <a:ext cx="8469630" cy="397080"/>
          </a:xfrm>
          <a:prstGeom prst="snip1Rect">
            <a:avLst>
              <a:gd name="adj" fmla="val 29185"/>
            </a:avLst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37160" tIns="68580" rIns="137160" bIns="13716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85800">
              <a:spcBef>
                <a:spcPts val="0"/>
              </a:spcBef>
              <a:buClr>
                <a:srgbClr val="F69322"/>
              </a:buClr>
              <a:defRPr/>
            </a:pPr>
            <a:r>
              <a:rPr lang="en-US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ardless of scenario, retroactive attempts to include pandemics in BI causes bankruptcy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6C592F-1898-4740-97F1-844FDFEB9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costs of retroactive changes to SME BI polici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3775321-6853-4A29-82C7-BAD8CF6B95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2138" y="6387214"/>
            <a:ext cx="7982678" cy="311264"/>
          </a:xfrm>
        </p:spPr>
        <p:txBody>
          <a:bodyPr/>
          <a:lstStyle/>
          <a:p>
            <a:r>
              <a:rPr lang="en-US" sz="900" dirty="0"/>
              <a:t>Median estimates are model-driven. The higher and lower estimates assume a standard distribution for BI losses anchored in the mode-driven median loss estimates.</a:t>
            </a:r>
          </a:p>
          <a:p>
            <a:r>
              <a:rPr lang="en-US" sz="900" dirty="0"/>
              <a:t>Source: Insurance Information Institute.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7EADF08-9898-4156-BC87-EB4FD0E09AFD}"/>
              </a:ext>
            </a:extLst>
          </p:cNvPr>
          <p:cNvGrpSpPr/>
          <p:nvPr/>
        </p:nvGrpSpPr>
        <p:grpSpPr>
          <a:xfrm>
            <a:off x="1550535" y="4940952"/>
            <a:ext cx="5992613" cy="852124"/>
            <a:chOff x="1411278" y="4981746"/>
            <a:chExt cx="7990150" cy="1245228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931D4B5-6B46-469E-AF36-73C995831B0E}"/>
                </a:ext>
              </a:extLst>
            </p:cNvPr>
            <p:cNvSpPr/>
            <p:nvPr/>
          </p:nvSpPr>
          <p:spPr>
            <a:xfrm>
              <a:off x="2891752" y="4981746"/>
              <a:ext cx="6509675" cy="124522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lnSpc>
                  <a:spcPct val="90000"/>
                </a:lnSpc>
                <a:defRPr/>
              </a:pPr>
              <a:endParaRPr lang="en-US" sz="15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" name="Text Placeholder 4">
              <a:extLst>
                <a:ext uri="{FF2B5EF4-FFF2-40B4-BE49-F238E27FC236}">
                  <a16:creationId xmlns:a16="http://schemas.microsoft.com/office/drawing/2014/main" id="{A13A0F97-83F3-43A9-B115-65D62D7E6A5A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1411278" y="4981747"/>
              <a:ext cx="1549092" cy="1245227"/>
            </a:xfrm>
            <a:prstGeom prst="snip1Rect">
              <a:avLst/>
            </a:prstGeom>
            <a:solidFill>
              <a:schemeClr val="accent3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34290" tIns="34286" rIns="68580" bIns="68580" numCol="1" rtlCol="0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ctr" rtl="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None/>
                <a:defRPr kumimoji="0" lang="en-US" sz="2000" b="1" i="0" u="none" strike="noStrike" kern="1200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+mn-ea"/>
                  <a:cs typeface="+mn-cs"/>
                </a:defRPr>
              </a:lvl1pPr>
              <a:lvl2pPr marL="457200" indent="0">
                <a:buNone/>
                <a:defRPr sz="2000" b="1"/>
              </a:lvl2pPr>
              <a:lvl3pPr marL="914400" indent="0">
                <a:buNone/>
                <a:defRPr sz="1800" b="1"/>
              </a:lvl3pPr>
              <a:lvl4pPr marL="1371600" indent="0">
                <a:buNone/>
                <a:defRPr sz="1600" b="1"/>
              </a:lvl4pPr>
              <a:lvl5pPr marL="1828800" indent="0">
                <a:buNone/>
                <a:defRPr sz="1600" b="1"/>
              </a:lvl5pPr>
              <a:lvl6pPr marL="2286000" indent="0">
                <a:buNone/>
                <a:defRPr sz="1600" b="1"/>
              </a:lvl6pPr>
              <a:lvl7pPr marL="2743200" indent="0">
                <a:buNone/>
                <a:defRPr sz="1600" b="1"/>
              </a:lvl7pPr>
              <a:lvl8pPr marL="3200400" indent="0">
                <a:buNone/>
                <a:defRPr sz="1600" b="1"/>
              </a:lvl8pPr>
              <a:lvl9pPr marL="3657600" indent="0">
                <a:buNone/>
                <a:defRPr sz="1600" b="1"/>
              </a:lvl9pPr>
            </a:lstStyle>
            <a:p>
              <a:pPr defTabSz="685800" eaLnBrk="1" hangingPunct="1">
                <a:spcBef>
                  <a:spcPts val="0"/>
                </a:spcBef>
                <a:buClr>
                  <a:srgbClr val="F69322"/>
                </a:buClr>
                <a:buSzPct val="90000"/>
                <a:defRPr/>
              </a:pPr>
              <a:r>
                <a:rPr lang="en-US" sz="1200" dirty="0">
                  <a:solidFill>
                    <a:srgbClr val="FFFFFF"/>
                  </a:solidFill>
                  <a:latin typeface="Arial"/>
                </a:rPr>
                <a:t>Key Assumption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4CE479D-03C9-4385-A66D-E9F378FCB1FE}"/>
                </a:ext>
              </a:extLst>
            </p:cNvPr>
            <p:cNvSpPr txBox="1"/>
            <p:nvPr/>
          </p:nvSpPr>
          <p:spPr>
            <a:xfrm>
              <a:off x="3071750" y="5065613"/>
              <a:ext cx="6329678" cy="11536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>
                <a:lnSpc>
                  <a:spcPct val="90000"/>
                </a:lnSpc>
                <a:spcBef>
                  <a:spcPts val="300"/>
                </a:spcBef>
                <a:defRPr/>
              </a:pPr>
              <a:r>
                <a:rPr lang="en-US" sz="1050" dirty="0">
                  <a:solidFill>
                    <a:srgbClr val="000000"/>
                  </a:solidFill>
                  <a:latin typeface="Arial"/>
                </a:rPr>
                <a:t>Scenario 1: 40% take-up rate</a:t>
              </a:r>
            </a:p>
            <a:p>
              <a:pPr defTabSz="685800">
                <a:lnSpc>
                  <a:spcPct val="90000"/>
                </a:lnSpc>
                <a:spcBef>
                  <a:spcPts val="300"/>
                </a:spcBef>
                <a:defRPr/>
              </a:pPr>
              <a:r>
                <a:rPr lang="en-US" sz="1050" dirty="0">
                  <a:solidFill>
                    <a:srgbClr val="000000"/>
                  </a:solidFill>
                  <a:latin typeface="Arial"/>
                </a:rPr>
                <a:t>Scenario 2: 100% take-up rate</a:t>
              </a:r>
            </a:p>
            <a:p>
              <a:pPr defTabSz="685800">
                <a:lnSpc>
                  <a:spcPct val="90000"/>
                </a:lnSpc>
                <a:spcBef>
                  <a:spcPts val="300"/>
                </a:spcBef>
                <a:defRPr/>
              </a:pPr>
              <a:r>
                <a:rPr lang="en-US" sz="1050" dirty="0">
                  <a:solidFill>
                    <a:srgbClr val="000000"/>
                  </a:solidFill>
                  <a:latin typeface="Arial"/>
                </a:rPr>
                <a:t>Loss basis: Compensation, profits, adjustment costs 7 days waiting period </a:t>
              </a:r>
            </a:p>
            <a:p>
              <a:pPr defTabSz="685800">
                <a:lnSpc>
                  <a:spcPct val="90000"/>
                </a:lnSpc>
                <a:spcBef>
                  <a:spcPts val="300"/>
                </a:spcBef>
                <a:defRPr/>
              </a:pPr>
              <a:r>
                <a:rPr lang="en-US" sz="1050" dirty="0">
                  <a:solidFill>
                    <a:srgbClr val="000000"/>
                  </a:solidFill>
                  <a:latin typeface="Arial"/>
                </a:rPr>
                <a:t>Retained loss of 10% of total loss</a:t>
              </a:r>
            </a:p>
          </p:txBody>
        </p:sp>
      </p:grpSp>
      <p:graphicFrame>
        <p:nvGraphicFramePr>
          <p:cNvPr id="30" name="Content Placeholder 8">
            <a:extLst>
              <a:ext uri="{FF2B5EF4-FFF2-40B4-BE49-F238E27FC236}">
                <a16:creationId xmlns:a16="http://schemas.microsoft.com/office/drawing/2014/main" id="{C6A0A51F-0B67-42A4-979E-AC0B2AF1A8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5280057"/>
              </p:ext>
            </p:extLst>
          </p:nvPr>
        </p:nvGraphicFramePr>
        <p:xfrm>
          <a:off x="355514" y="2152812"/>
          <a:ext cx="8382657" cy="2583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1" name="Table 31">
            <a:extLst>
              <a:ext uri="{FF2B5EF4-FFF2-40B4-BE49-F238E27FC236}">
                <a16:creationId xmlns:a16="http://schemas.microsoft.com/office/drawing/2014/main" id="{71CC053E-DCD6-4F18-9AEA-2D41C134CDB7}"/>
              </a:ext>
            </a:extLst>
          </p:cNvPr>
          <p:cNvGraphicFramePr>
            <a:graphicFrameLocks noGrp="1"/>
          </p:cNvGraphicFramePr>
          <p:nvPr/>
        </p:nvGraphicFramePr>
        <p:xfrm>
          <a:off x="2148296" y="2220659"/>
          <a:ext cx="929231" cy="17427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29231">
                  <a:extLst>
                    <a:ext uri="{9D8B030D-6E8A-4147-A177-3AD203B41FA5}">
                      <a16:colId xmlns:a16="http://schemas.microsoft.com/office/drawing/2014/main" val="1484009492"/>
                    </a:ext>
                  </a:extLst>
                </a:gridCol>
              </a:tblGrid>
              <a:tr h="290457"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Higher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588745"/>
                  </a:ext>
                </a:extLst>
              </a:tr>
              <a:tr h="290457"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Median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0882135"/>
                  </a:ext>
                </a:extLst>
              </a:tr>
              <a:tr h="290457"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Lower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9502466"/>
                  </a:ext>
                </a:extLst>
              </a:tr>
              <a:tr h="290457"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Higher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8127113"/>
                  </a:ext>
                </a:extLst>
              </a:tr>
              <a:tr h="290457"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Median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8973865"/>
                  </a:ext>
                </a:extLst>
              </a:tr>
              <a:tr h="290457"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Lower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117808"/>
                  </a:ext>
                </a:extLst>
              </a:tr>
            </a:tbl>
          </a:graphicData>
        </a:graphic>
      </p:graphicFrame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38A6A6F-7837-41F8-A3BD-572076541C1F}"/>
              </a:ext>
            </a:extLst>
          </p:cNvPr>
          <p:cNvCxnSpPr>
            <a:cxnSpLocks/>
          </p:cNvCxnSpPr>
          <p:nvPr/>
        </p:nvCxnSpPr>
        <p:spPr>
          <a:xfrm>
            <a:off x="337185" y="3086482"/>
            <a:ext cx="8469630" cy="0"/>
          </a:xfrm>
          <a:prstGeom prst="line">
            <a:avLst/>
          </a:prstGeom>
          <a:noFill/>
          <a:ln w="31750" cap="rnd" cmpd="sng" algn="ctr">
            <a:solidFill>
              <a:sysClr val="window" lastClr="FFFFFF">
                <a:lumMod val="75000"/>
              </a:sysClr>
            </a:solidFill>
            <a:prstDash val="sysDot"/>
            <a:miter lim="800000"/>
          </a:ln>
          <a:effectLst/>
        </p:spPr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24D4310-4855-4CB0-B3CD-39099D2E3DFB}"/>
              </a:ext>
            </a:extLst>
          </p:cNvPr>
          <p:cNvSpPr txBox="1"/>
          <p:nvPr/>
        </p:nvSpPr>
        <p:spPr>
          <a:xfrm>
            <a:off x="1024733" y="2449793"/>
            <a:ext cx="1397318" cy="46168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defTabSz="685800"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  <a:defRPr/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Virus / Bacteria Exclusion Remova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33B9913-FC8E-4609-ACF6-C6A0590E22AF}"/>
              </a:ext>
            </a:extLst>
          </p:cNvPr>
          <p:cNvSpPr txBox="1"/>
          <p:nvPr/>
        </p:nvSpPr>
        <p:spPr>
          <a:xfrm>
            <a:off x="1024733" y="3372980"/>
            <a:ext cx="1397318" cy="46168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defTabSz="685800"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  <a:defRPr/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Expanded BI to</a:t>
            </a:r>
            <a:br>
              <a:rPr lang="en-US" sz="1050" b="1" dirty="0">
                <a:solidFill>
                  <a:srgbClr val="000000"/>
                </a:solidFill>
                <a:latin typeface="Arial"/>
              </a:rPr>
            </a:br>
            <a:r>
              <a:rPr lang="en-US" sz="1050" b="1" dirty="0">
                <a:solidFill>
                  <a:srgbClr val="000000"/>
                </a:solidFill>
                <a:latin typeface="Arial"/>
              </a:rPr>
              <a:t>All SMEs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3F7AB81-C993-4022-B411-52CF49F62BE0}"/>
              </a:ext>
            </a:extLst>
          </p:cNvPr>
          <p:cNvSpPr/>
          <p:nvPr/>
        </p:nvSpPr>
        <p:spPr>
          <a:xfrm>
            <a:off x="553246" y="2473770"/>
            <a:ext cx="369337" cy="36933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defRPr/>
            </a:pPr>
            <a:r>
              <a:rPr lang="en-US" sz="1500" b="1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D9FA51A-A824-48A3-85DC-1F841EBFB88B}"/>
              </a:ext>
            </a:extLst>
          </p:cNvPr>
          <p:cNvSpPr/>
          <p:nvPr/>
        </p:nvSpPr>
        <p:spPr>
          <a:xfrm>
            <a:off x="553246" y="3429788"/>
            <a:ext cx="369337" cy="36933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defRPr/>
            </a:pPr>
            <a:r>
              <a:rPr lang="en-US" sz="1500" b="1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E6DA563-7D10-40B8-A6F2-8354AB349E89}"/>
              </a:ext>
            </a:extLst>
          </p:cNvPr>
          <p:cNvSpPr txBox="1"/>
          <p:nvPr/>
        </p:nvSpPr>
        <p:spPr>
          <a:xfrm>
            <a:off x="355513" y="1997852"/>
            <a:ext cx="2147657" cy="33277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defTabSz="685800"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  <a:defRPr/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Retroactive BI Scenarios</a:t>
            </a:r>
          </a:p>
        </p:txBody>
      </p:sp>
    </p:spTree>
    <p:extLst>
      <p:ext uri="{BB962C8B-B14F-4D97-AF65-F5344CB8AC3E}">
        <p14:creationId xmlns:p14="http://schemas.microsoft.com/office/powerpoint/2010/main" val="354325641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820F806-3E97-4CFB-8EDF-B58BFF5B2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icy wording: Insurers minimized risk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6F86D9-A033-42B5-9B36-F705C244CA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nsurers understood threat of pandemics well before mos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DD65096-06CE-4D87-BAB3-E37425AB38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COVID Coverage Litigation Tracker, cclt.law.upenn.edu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0D23EA6-DDF7-4D04-A968-AA79FBBDAD5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0096" y="4555844"/>
            <a:ext cx="4153168" cy="480060"/>
          </a:xfrm>
        </p:spPr>
        <p:txBody>
          <a:bodyPr/>
          <a:lstStyle/>
          <a:p>
            <a:r>
              <a:rPr lang="en-US" dirty="0"/>
              <a:t>Insurer Defenses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E41E376-F361-435F-95D3-AAC333E19E0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780096" y="2115785"/>
            <a:ext cx="4153168" cy="480060"/>
          </a:xfrm>
        </p:spPr>
        <p:txBody>
          <a:bodyPr/>
          <a:lstStyle/>
          <a:p>
            <a:r>
              <a:rPr lang="en-US" dirty="0"/>
              <a:t>Who Is Suing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552560-B44C-48FA-9DA3-406D458F694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56616" y="2135226"/>
            <a:ext cx="4153168" cy="640080"/>
          </a:xfrm>
        </p:spPr>
        <p:txBody>
          <a:bodyPr/>
          <a:lstStyle/>
          <a:p>
            <a:r>
              <a:rPr lang="en-US" dirty="0"/>
              <a:t>Cumulative Filings</a:t>
            </a:r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3B497087-B94E-4862-8F31-68CCEF30E12A}"/>
              </a:ext>
            </a:extLst>
          </p:cNvPr>
          <p:cNvGraphicFramePr>
            <a:graphicFrameLocks noGrp="1"/>
          </p:cNvGraphicFramePr>
          <p:nvPr>
            <p:ph sz="quarter" idx="37"/>
            <p:extLst>
              <p:ext uri="{D42A27DB-BD31-4B8C-83A1-F6EECF244321}">
                <p14:modId xmlns:p14="http://schemas.microsoft.com/office/powerpoint/2010/main" val="2801725227"/>
              </p:ext>
            </p:extLst>
          </p:nvPr>
        </p:nvGraphicFramePr>
        <p:xfrm>
          <a:off x="418832" y="3104669"/>
          <a:ext cx="4153168" cy="2812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Content Placeholder 23">
            <a:extLst>
              <a:ext uri="{FF2B5EF4-FFF2-40B4-BE49-F238E27FC236}">
                <a16:creationId xmlns:a16="http://schemas.microsoft.com/office/drawing/2014/main" id="{532187A8-1701-4B41-897D-D78F9074D912}"/>
              </a:ext>
            </a:extLst>
          </p:cNvPr>
          <p:cNvGraphicFramePr>
            <a:graphicFrameLocks noGrp="1"/>
          </p:cNvGraphicFramePr>
          <p:nvPr>
            <p:ph sz="quarter" idx="39"/>
            <p:extLst>
              <p:ext uri="{D42A27DB-BD31-4B8C-83A1-F6EECF244321}">
                <p14:modId xmlns:p14="http://schemas.microsoft.com/office/powerpoint/2010/main" val="2161735937"/>
              </p:ext>
            </p:extLst>
          </p:nvPr>
        </p:nvGraphicFramePr>
        <p:xfrm>
          <a:off x="4756635" y="2583101"/>
          <a:ext cx="4176629" cy="1785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5D5EDF5-D652-4861-A1CC-0CFD1C384B57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781888" y="5222977"/>
            <a:ext cx="4151376" cy="1062990"/>
          </a:xfrm>
        </p:spPr>
        <p:txBody>
          <a:bodyPr/>
          <a:lstStyle/>
          <a:p>
            <a:r>
              <a:rPr lang="en-US" dirty="0"/>
              <a:t>No physical damage</a:t>
            </a:r>
          </a:p>
          <a:p>
            <a:r>
              <a:rPr lang="en-US" dirty="0"/>
              <a:t>Exclusion for loss due to virus or bacteria (2006)</a:t>
            </a:r>
          </a:p>
        </p:txBody>
      </p:sp>
    </p:spTree>
    <p:extLst>
      <p:ext uri="{BB962C8B-B14F-4D97-AF65-F5344CB8AC3E}">
        <p14:creationId xmlns:p14="http://schemas.microsoft.com/office/powerpoint/2010/main" val="491410182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DF1EF6-049C-41CC-9189-4F2D65158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cing: Adjusting on the fl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A60D1A-62D7-4F2A-9478-67577B7E27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nsurers reacted nimbly to fulfill regulatory need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2CC68CD-6DB9-4113-A60E-D71044EF5FB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$14B in Personal Auto Giveback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1BA3D9-2EE3-403B-895E-297A5D47AB4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Consumer Price Index – Personal Auto</a:t>
            </a:r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5D06BA3A-CA4F-46B3-A018-8169DC66EF9A}"/>
              </a:ext>
            </a:extLst>
          </p:cNvPr>
          <p:cNvGraphicFramePr>
            <a:graphicFrameLocks noGrp="1"/>
          </p:cNvGraphicFramePr>
          <p:nvPr>
            <p:ph sz="quarter" idx="33"/>
            <p:extLst>
              <p:ext uri="{D42A27DB-BD31-4B8C-83A1-F6EECF244321}">
                <p14:modId xmlns:p14="http://schemas.microsoft.com/office/powerpoint/2010/main" val="310537642"/>
              </p:ext>
            </p:extLst>
          </p:nvPr>
        </p:nvGraphicFramePr>
        <p:xfrm>
          <a:off x="-613460" y="2634082"/>
          <a:ext cx="4148138" cy="2811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85520C2-776D-4971-91CE-52CC5CB2C8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Insurance Information Institute, Bureau of Labor Statistics.</a:t>
            </a:r>
          </a:p>
        </p:txBody>
      </p:sp>
      <p:graphicFrame>
        <p:nvGraphicFramePr>
          <p:cNvPr id="14" name="Object 7">
            <a:extLst>
              <a:ext uri="{FF2B5EF4-FFF2-40B4-BE49-F238E27FC236}">
                <a16:creationId xmlns:a16="http://schemas.microsoft.com/office/drawing/2014/main" id="{B1DF52A7-46A2-4284-BD9F-F112996AD6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15698612"/>
              </p:ext>
            </p:extLst>
          </p:nvPr>
        </p:nvGraphicFramePr>
        <p:xfrm>
          <a:off x="4702535" y="2634081"/>
          <a:ext cx="4118723" cy="29489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F5D29DF6-22B9-4703-95CE-0E64A17627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410190"/>
              </p:ext>
            </p:extLst>
          </p:nvPr>
        </p:nvGraphicFramePr>
        <p:xfrm>
          <a:off x="2323604" y="3749961"/>
          <a:ext cx="2762104" cy="25448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63625326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79BA0E-101C-4AFC-A1E7-CDAF004A5A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ing opportuniti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4FCC3A-EFDA-44E4-A923-E936E950F2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oo few knew industry gave back billions, but telematics sho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1F0FEAA-4980-4BBE-B87D-DFD123BA213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Did you receive either refund or credit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1E5C18D-13EC-40BA-9C2C-9D586A95A56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52426" y="3767804"/>
            <a:ext cx="4153168" cy="640080"/>
          </a:xfrm>
        </p:spPr>
        <p:txBody>
          <a:bodyPr/>
          <a:lstStyle/>
          <a:p>
            <a:r>
              <a:rPr lang="en-US" dirty="0"/>
              <a:t>Did insurer tell you it…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535FD9D-36CD-4A04-898F-233912E0E8D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Growing embrace of telematics</a:t>
            </a:r>
          </a:p>
        </p:txBody>
      </p:sp>
      <p:graphicFrame>
        <p:nvGraphicFramePr>
          <p:cNvPr id="19" name="Content Placeholder 18">
            <a:extLst>
              <a:ext uri="{FF2B5EF4-FFF2-40B4-BE49-F238E27FC236}">
                <a16:creationId xmlns:a16="http://schemas.microsoft.com/office/drawing/2014/main" id="{064E33DE-224B-434E-96FD-43266C776306}"/>
              </a:ext>
            </a:extLst>
          </p:cNvPr>
          <p:cNvGraphicFramePr>
            <a:graphicFrameLocks noGrp="1"/>
          </p:cNvGraphicFramePr>
          <p:nvPr>
            <p:ph sz="quarter" idx="35"/>
          </p:nvPr>
        </p:nvGraphicFramePr>
        <p:xfrm>
          <a:off x="357187" y="2640806"/>
          <a:ext cx="4148138" cy="1062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B8C2691-ABC5-4814-95D9-E5FE9C0C0AFA}"/>
              </a:ext>
            </a:extLst>
          </p:cNvPr>
          <p:cNvGraphicFramePr>
            <a:graphicFrameLocks noGrp="1"/>
          </p:cNvGraphicFramePr>
          <p:nvPr>
            <p:ph sz="quarter" idx="36"/>
            <p:extLst>
              <p:ext uri="{D42A27DB-BD31-4B8C-83A1-F6EECF244321}">
                <p14:modId xmlns:p14="http://schemas.microsoft.com/office/powerpoint/2010/main" val="3210781321"/>
              </p:ext>
            </p:extLst>
          </p:nvPr>
        </p:nvGraphicFramePr>
        <p:xfrm>
          <a:off x="357187" y="4388644"/>
          <a:ext cx="4148138" cy="1902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Content Placeholder 21">
            <a:extLst>
              <a:ext uri="{FF2B5EF4-FFF2-40B4-BE49-F238E27FC236}">
                <a16:creationId xmlns:a16="http://schemas.microsoft.com/office/drawing/2014/main" id="{0A58038B-8820-4D2E-819E-E5505B5E23F6}"/>
              </a:ext>
            </a:extLst>
          </p:cNvPr>
          <p:cNvGraphicFramePr>
            <a:graphicFrameLocks noGrp="1"/>
          </p:cNvGraphicFramePr>
          <p:nvPr>
            <p:ph sz="quarter" idx="37"/>
            <p:extLst>
              <p:ext uri="{D42A27DB-BD31-4B8C-83A1-F6EECF244321}">
                <p14:modId xmlns:p14="http://schemas.microsoft.com/office/powerpoint/2010/main" val="356529199"/>
              </p:ext>
            </p:extLst>
          </p:nvPr>
        </p:nvGraphicFramePr>
        <p:xfrm>
          <a:off x="4668441" y="2640806"/>
          <a:ext cx="4151709" cy="3988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7A472B6-AE63-4B24-BCAC-F5F4ED4F49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Insurance Information Institute, Arity.co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80C3B2-72CD-A341-B4F1-E4B7FF08BBD5}"/>
              </a:ext>
            </a:extLst>
          </p:cNvPr>
          <p:cNvSpPr txBox="1"/>
          <p:nvPr/>
        </p:nvSpPr>
        <p:spPr>
          <a:xfrm>
            <a:off x="5873750" y="-26670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</a:pPr>
            <a:endParaRPr lang="en-US" sz="105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49B086-CC67-BF4A-A6BE-F263582AF6DB}"/>
              </a:ext>
            </a:extLst>
          </p:cNvPr>
          <p:cNvSpPr/>
          <p:nvPr/>
        </p:nvSpPr>
        <p:spPr>
          <a:xfrm>
            <a:off x="4655390" y="2691979"/>
            <a:ext cx="3070071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</a:pPr>
            <a:r>
              <a:rPr lang="en-US" sz="1200" b="1" dirty="0"/>
              <a:t>Percent comfortable with use in pricing</a:t>
            </a:r>
          </a:p>
        </p:txBody>
      </p:sp>
    </p:spTree>
    <p:extLst>
      <p:ext uri="{BB962C8B-B14F-4D97-AF65-F5344CB8AC3E}">
        <p14:creationId xmlns:p14="http://schemas.microsoft.com/office/powerpoint/2010/main" val="31082631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0841F-27E7-42F0-B3AA-4F0FBC23A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 challenge: A surge in business interruption media coverag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F139AF8-0902-41E7-9521-7447ADFD17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7952" y="5575555"/>
            <a:ext cx="7982678" cy="311264"/>
          </a:xfrm>
        </p:spPr>
        <p:txBody>
          <a:bodyPr/>
          <a:lstStyle/>
          <a:p>
            <a:r>
              <a:rPr lang="en-US" dirty="0"/>
              <a:t>Source: Meltwater.</a:t>
            </a:r>
          </a:p>
        </p:txBody>
      </p:sp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FF348AA7-C9AD-4E15-8A01-CA50196042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FF348AA7-C9AD-4E15-8A01-CA5019604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BEC5AA4D-0E4E-4F81-9DAC-D0B2E0572D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25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50B1FBFE-B425-4123-8ECA-9E7A284201FA}"/>
              </a:ext>
            </a:extLst>
          </p:cNvPr>
          <p:cNvSpPr txBox="1">
            <a:spLocks/>
          </p:cNvSpPr>
          <p:nvPr/>
        </p:nvSpPr>
        <p:spPr bwMode="gray">
          <a:xfrm>
            <a:off x="337185" y="1885950"/>
            <a:ext cx="8469630" cy="480060"/>
          </a:xfrm>
          <a:prstGeom prst="snip1Rect">
            <a:avLst>
              <a:gd name="adj" fmla="val 29185"/>
            </a:avLst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37160" tIns="68580" rIns="137160" bIns="13716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600" dirty="0"/>
              <a:t>Count of Stories Mentioning Business Interruption Insurance &amp; COVID-19</a:t>
            </a:r>
          </a:p>
        </p:txBody>
      </p:sp>
      <p:graphicFrame>
        <p:nvGraphicFramePr>
          <p:cNvPr id="38" name="Content Placeholder 6">
            <a:extLst>
              <a:ext uri="{FF2B5EF4-FFF2-40B4-BE49-F238E27FC236}">
                <a16:creationId xmlns:a16="http://schemas.microsoft.com/office/drawing/2014/main" id="{20293BF4-853F-479F-9421-D6F2F89FB3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5746974"/>
              </p:ext>
            </p:extLst>
          </p:nvPr>
        </p:nvGraphicFramePr>
        <p:xfrm>
          <a:off x="497681" y="2366010"/>
          <a:ext cx="8148638" cy="3520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2538975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12DA278-D9FF-4700-87D3-82A129C453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12DA278-D9FF-4700-87D3-82A129C45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40E6B53-72EE-45F9-BBA3-EDC17AF0CD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85725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225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C0EC1601-9B79-4282-8AA1-987478A7A77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869" y="1612817"/>
            <a:ext cx="3067002" cy="145597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1728E37-21B9-424A-A4A0-44774691A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 challenge: An industry campaign 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AB063429-2170-41E2-93AC-162B3E3EB7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0" y="1763486"/>
            <a:ext cx="4428162" cy="4344779"/>
          </a:xfrm>
        </p:spPr>
        <p:txBody>
          <a:bodyPr wrap="square">
            <a:spAutoFit/>
          </a:bodyPr>
          <a:lstStyle/>
          <a:p>
            <a:pPr lvl="0"/>
            <a:r>
              <a:rPr lang="en-US" sz="1500" dirty="0"/>
              <a:t>The Future of American Insurance &amp; Reinsurance (FAIR) campaign launched in May and has served as a source of education surrounding pivotal industry activity, including Congressional hearings, White House roundtables, state legislation, and media stories.</a:t>
            </a:r>
          </a:p>
          <a:p>
            <a:pPr lvl="0"/>
            <a:r>
              <a:rPr lang="en-US" sz="1500" dirty="0"/>
              <a:t>With a separate website, valuable explanatory assets, stakeholder outreach, and digital promotions, this integrated campaign provides the Triple-I with a separate platform and voice to present information in a digestible, influential manner to key audiences.</a:t>
            </a:r>
          </a:p>
          <a:p>
            <a:pPr lvl="0"/>
            <a:r>
              <a:rPr lang="en-US" sz="1500" dirty="0"/>
              <a:t>The campaign takes on overarching industry issues (</a:t>
            </a:r>
            <a:r>
              <a:rPr lang="en-US" sz="1500" dirty="0" err="1"/>
              <a:t>i.e</a:t>
            </a:r>
            <a:r>
              <a:rPr lang="en-US" sz="1500" dirty="0"/>
              <a:t>. business interruption) and emphasizes its essential role in supporting and rebuilding communities in these uncertain times.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5470750-160D-4AD7-BC2F-E68F119408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0145" y="6314409"/>
            <a:ext cx="3494900" cy="311264"/>
          </a:xfrm>
        </p:spPr>
        <p:txBody>
          <a:bodyPr/>
          <a:lstStyle/>
          <a:p>
            <a:r>
              <a:rPr lang="en-US" sz="900" dirty="0"/>
              <a:t>www.fairinsure.org</a:t>
            </a:r>
          </a:p>
        </p:txBody>
      </p:sp>
      <p:pic>
        <p:nvPicPr>
          <p:cNvPr id="18" name="Picture 18">
            <a:extLst>
              <a:ext uri="{FF2B5EF4-FFF2-40B4-BE49-F238E27FC236}">
                <a16:creationId xmlns:a16="http://schemas.microsoft.com/office/drawing/2014/main" id="{4C00D5B8-9B1C-401D-A558-FD0247C227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1959" y="5049601"/>
            <a:ext cx="3910795" cy="50117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7B5C12B-4268-4280-AD48-ACC3D2F730B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1130" y="2272814"/>
            <a:ext cx="2971624" cy="15551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 descr="A picture containing standing, man, front, walking&#10;&#10;Description automatically generated">
            <a:extLst>
              <a:ext uri="{FF2B5EF4-FFF2-40B4-BE49-F238E27FC236}">
                <a16:creationId xmlns:a16="http://schemas.microsoft.com/office/drawing/2014/main" id="{2CD67A51-7A32-4A6E-A6C1-4774F87B2EB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656" y="3205103"/>
            <a:ext cx="2926079" cy="155515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20965522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24CB326-B23E-49A1-87A9-99034FEB77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24CB326-B23E-49A1-87A9-99034FEB77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4056F-1AEC-4147-9525-D5D8C3CE3E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25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A0590F-2698-3747-A827-1DAE4A1C5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cations: Global pandemics are uninsurable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8AC6425-6CCF-4E8C-A1C5-3A22F2D0B172}"/>
              </a:ext>
            </a:extLst>
          </p:cNvPr>
          <p:cNvSpPr txBox="1">
            <a:spLocks/>
          </p:cNvSpPr>
          <p:nvPr/>
        </p:nvSpPr>
        <p:spPr bwMode="gray">
          <a:xfrm>
            <a:off x="355513" y="1603670"/>
            <a:ext cx="8382656" cy="460762"/>
          </a:xfrm>
          <a:prstGeom prst="snip1Rect">
            <a:avLst>
              <a:gd name="adj" fmla="val 29185"/>
            </a:avLst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37160" tIns="68580" rIns="137160" bIns="13716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85800">
              <a:spcBef>
                <a:spcPts val="0"/>
              </a:spcBef>
              <a:buClr>
                <a:srgbClr val="F69322"/>
              </a:buClr>
              <a:defRPr/>
            </a:pPr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Impact of 9/11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7DA9B2F-04F2-4399-B46D-C0F14E5C969E}"/>
              </a:ext>
            </a:extLst>
          </p:cNvPr>
          <p:cNvGrpSpPr/>
          <p:nvPr/>
        </p:nvGrpSpPr>
        <p:grpSpPr bwMode="gray">
          <a:xfrm>
            <a:off x="641669" y="2184740"/>
            <a:ext cx="6898322" cy="3198087"/>
            <a:chOff x="855559" y="2028400"/>
            <a:chExt cx="9197762" cy="4264116"/>
          </a:xfrm>
        </p:grpSpPr>
        <p:grpSp>
          <p:nvGrpSpPr>
            <p:cNvPr id="12" name="Group 49">
              <a:extLst>
                <a:ext uri="{FF2B5EF4-FFF2-40B4-BE49-F238E27FC236}">
                  <a16:creationId xmlns:a16="http://schemas.microsoft.com/office/drawing/2014/main" id="{481D3E2C-E08F-4EA4-9113-6094CE02811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189644" y="4457456"/>
              <a:ext cx="1071453" cy="722647"/>
              <a:chOff x="4817" y="3316"/>
              <a:chExt cx="1149" cy="776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78" name="Freeform 50">
                <a:extLst>
                  <a:ext uri="{FF2B5EF4-FFF2-40B4-BE49-F238E27FC236}">
                    <a16:creationId xmlns:a16="http://schemas.microsoft.com/office/drawing/2014/main" id="{E92178C8-8870-45C1-A1A9-1B57D6339F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80" y="3787"/>
                <a:ext cx="286" cy="305"/>
              </a:xfrm>
              <a:custGeom>
                <a:avLst/>
                <a:gdLst>
                  <a:gd name="T0" fmla="*/ 92 w 856"/>
                  <a:gd name="T1" fmla="*/ 297 h 914"/>
                  <a:gd name="T2" fmla="*/ 113 w 856"/>
                  <a:gd name="T3" fmla="*/ 290 h 914"/>
                  <a:gd name="T4" fmla="*/ 111 w 856"/>
                  <a:gd name="T5" fmla="*/ 278 h 914"/>
                  <a:gd name="T6" fmla="*/ 144 w 856"/>
                  <a:gd name="T7" fmla="*/ 259 h 914"/>
                  <a:gd name="T8" fmla="*/ 172 w 856"/>
                  <a:gd name="T9" fmla="*/ 223 h 914"/>
                  <a:gd name="T10" fmla="*/ 190 w 856"/>
                  <a:gd name="T11" fmla="*/ 240 h 914"/>
                  <a:gd name="T12" fmla="*/ 227 w 856"/>
                  <a:gd name="T13" fmla="*/ 220 h 914"/>
                  <a:gd name="T14" fmla="*/ 246 w 856"/>
                  <a:gd name="T15" fmla="*/ 208 h 914"/>
                  <a:gd name="T16" fmla="*/ 255 w 856"/>
                  <a:gd name="T17" fmla="*/ 190 h 914"/>
                  <a:gd name="T18" fmla="*/ 282 w 856"/>
                  <a:gd name="T19" fmla="*/ 174 h 914"/>
                  <a:gd name="T20" fmla="*/ 286 w 856"/>
                  <a:gd name="T21" fmla="*/ 158 h 914"/>
                  <a:gd name="T22" fmla="*/ 258 w 856"/>
                  <a:gd name="T23" fmla="*/ 150 h 914"/>
                  <a:gd name="T24" fmla="*/ 246 w 856"/>
                  <a:gd name="T25" fmla="*/ 109 h 914"/>
                  <a:gd name="T26" fmla="*/ 219 w 856"/>
                  <a:gd name="T27" fmla="*/ 115 h 914"/>
                  <a:gd name="T28" fmla="*/ 219 w 856"/>
                  <a:gd name="T29" fmla="*/ 89 h 914"/>
                  <a:gd name="T30" fmla="*/ 205 w 856"/>
                  <a:gd name="T31" fmla="*/ 74 h 914"/>
                  <a:gd name="T32" fmla="*/ 163 w 856"/>
                  <a:gd name="T33" fmla="*/ 47 h 914"/>
                  <a:gd name="T34" fmla="*/ 131 w 856"/>
                  <a:gd name="T35" fmla="*/ 43 h 914"/>
                  <a:gd name="T36" fmla="*/ 116 w 856"/>
                  <a:gd name="T37" fmla="*/ 27 h 914"/>
                  <a:gd name="T38" fmla="*/ 49 w 856"/>
                  <a:gd name="T39" fmla="*/ 0 h 914"/>
                  <a:gd name="T40" fmla="*/ 40 w 856"/>
                  <a:gd name="T41" fmla="*/ 8 h 914"/>
                  <a:gd name="T42" fmla="*/ 40 w 856"/>
                  <a:gd name="T43" fmla="*/ 31 h 914"/>
                  <a:gd name="T44" fmla="*/ 52 w 856"/>
                  <a:gd name="T45" fmla="*/ 38 h 914"/>
                  <a:gd name="T46" fmla="*/ 52 w 856"/>
                  <a:gd name="T47" fmla="*/ 62 h 914"/>
                  <a:gd name="T48" fmla="*/ 42 w 856"/>
                  <a:gd name="T49" fmla="*/ 77 h 914"/>
                  <a:gd name="T50" fmla="*/ 33 w 856"/>
                  <a:gd name="T51" fmla="*/ 89 h 914"/>
                  <a:gd name="T52" fmla="*/ 16 w 856"/>
                  <a:gd name="T53" fmla="*/ 93 h 914"/>
                  <a:gd name="T54" fmla="*/ 0 w 856"/>
                  <a:gd name="T55" fmla="*/ 123 h 914"/>
                  <a:gd name="T56" fmla="*/ 36 w 856"/>
                  <a:gd name="T57" fmla="*/ 201 h 914"/>
                  <a:gd name="T58" fmla="*/ 36 w 856"/>
                  <a:gd name="T59" fmla="*/ 251 h 914"/>
                  <a:gd name="T60" fmla="*/ 30 w 856"/>
                  <a:gd name="T61" fmla="*/ 266 h 914"/>
                  <a:gd name="T62" fmla="*/ 36 w 856"/>
                  <a:gd name="T63" fmla="*/ 286 h 914"/>
                  <a:gd name="T64" fmla="*/ 79 w 856"/>
                  <a:gd name="T65" fmla="*/ 305 h 914"/>
                  <a:gd name="T66" fmla="*/ 92 w 856"/>
                  <a:gd name="T67" fmla="*/ 297 h 914"/>
                  <a:gd name="T68" fmla="*/ 92 w 856"/>
                  <a:gd name="T69" fmla="*/ 297 h 91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856" h="914">
                    <a:moveTo>
                      <a:pt x="275" y="890"/>
                    </a:moveTo>
                    <a:lnTo>
                      <a:pt x="339" y="869"/>
                    </a:lnTo>
                    <a:lnTo>
                      <a:pt x="331" y="834"/>
                    </a:lnTo>
                    <a:lnTo>
                      <a:pt x="431" y="776"/>
                    </a:lnTo>
                    <a:lnTo>
                      <a:pt x="514" y="669"/>
                    </a:lnTo>
                    <a:lnTo>
                      <a:pt x="570" y="718"/>
                    </a:lnTo>
                    <a:lnTo>
                      <a:pt x="679" y="659"/>
                    </a:lnTo>
                    <a:lnTo>
                      <a:pt x="735" y="624"/>
                    </a:lnTo>
                    <a:lnTo>
                      <a:pt x="763" y="568"/>
                    </a:lnTo>
                    <a:lnTo>
                      <a:pt x="845" y="520"/>
                    </a:lnTo>
                    <a:lnTo>
                      <a:pt x="856" y="474"/>
                    </a:lnTo>
                    <a:lnTo>
                      <a:pt x="772" y="451"/>
                    </a:lnTo>
                    <a:lnTo>
                      <a:pt x="735" y="326"/>
                    </a:lnTo>
                    <a:lnTo>
                      <a:pt x="654" y="345"/>
                    </a:lnTo>
                    <a:lnTo>
                      <a:pt x="654" y="266"/>
                    </a:lnTo>
                    <a:lnTo>
                      <a:pt x="615" y="221"/>
                    </a:lnTo>
                    <a:lnTo>
                      <a:pt x="487" y="140"/>
                    </a:lnTo>
                    <a:lnTo>
                      <a:pt x="393" y="128"/>
                    </a:lnTo>
                    <a:lnTo>
                      <a:pt x="348" y="82"/>
                    </a:lnTo>
                    <a:lnTo>
                      <a:pt x="146" y="0"/>
                    </a:lnTo>
                    <a:lnTo>
                      <a:pt x="119" y="24"/>
                    </a:lnTo>
                    <a:lnTo>
                      <a:pt x="119" y="93"/>
                    </a:lnTo>
                    <a:lnTo>
                      <a:pt x="156" y="114"/>
                    </a:lnTo>
                    <a:lnTo>
                      <a:pt x="156" y="187"/>
                    </a:lnTo>
                    <a:lnTo>
                      <a:pt x="127" y="232"/>
                    </a:lnTo>
                    <a:lnTo>
                      <a:pt x="99" y="266"/>
                    </a:lnTo>
                    <a:lnTo>
                      <a:pt x="47" y="279"/>
                    </a:lnTo>
                    <a:lnTo>
                      <a:pt x="0" y="368"/>
                    </a:lnTo>
                    <a:lnTo>
                      <a:pt x="109" y="602"/>
                    </a:lnTo>
                    <a:lnTo>
                      <a:pt x="109" y="752"/>
                    </a:lnTo>
                    <a:lnTo>
                      <a:pt x="89" y="796"/>
                    </a:lnTo>
                    <a:lnTo>
                      <a:pt x="109" y="856"/>
                    </a:lnTo>
                    <a:lnTo>
                      <a:pt x="237" y="914"/>
                    </a:lnTo>
                    <a:lnTo>
                      <a:pt x="275" y="89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9" name="Freeform 51">
                <a:extLst>
                  <a:ext uri="{FF2B5EF4-FFF2-40B4-BE49-F238E27FC236}">
                    <a16:creationId xmlns:a16="http://schemas.microsoft.com/office/drawing/2014/main" id="{8AA07CF0-8FF0-4E2E-8D1A-329488A52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3" y="3590"/>
                <a:ext cx="169" cy="108"/>
              </a:xfrm>
              <a:custGeom>
                <a:avLst/>
                <a:gdLst>
                  <a:gd name="T0" fmla="*/ 169 w 506"/>
                  <a:gd name="T1" fmla="*/ 73 h 324"/>
                  <a:gd name="T2" fmla="*/ 169 w 506"/>
                  <a:gd name="T3" fmla="*/ 51 h 324"/>
                  <a:gd name="T4" fmla="*/ 139 w 506"/>
                  <a:gd name="T5" fmla="*/ 43 h 324"/>
                  <a:gd name="T6" fmla="*/ 133 w 506"/>
                  <a:gd name="T7" fmla="*/ 27 h 324"/>
                  <a:gd name="T8" fmla="*/ 120 w 506"/>
                  <a:gd name="T9" fmla="*/ 27 h 324"/>
                  <a:gd name="T10" fmla="*/ 108 w 506"/>
                  <a:gd name="T11" fmla="*/ 9 h 324"/>
                  <a:gd name="T12" fmla="*/ 74 w 506"/>
                  <a:gd name="T13" fmla="*/ 9 h 324"/>
                  <a:gd name="T14" fmla="*/ 50 w 506"/>
                  <a:gd name="T15" fmla="*/ 27 h 324"/>
                  <a:gd name="T16" fmla="*/ 31 w 506"/>
                  <a:gd name="T17" fmla="*/ 0 h 324"/>
                  <a:gd name="T18" fmla="*/ 16 w 506"/>
                  <a:gd name="T19" fmla="*/ 0 h 324"/>
                  <a:gd name="T20" fmla="*/ 0 w 506"/>
                  <a:gd name="T21" fmla="*/ 16 h 324"/>
                  <a:gd name="T22" fmla="*/ 10 w 506"/>
                  <a:gd name="T23" fmla="*/ 43 h 324"/>
                  <a:gd name="T24" fmla="*/ 37 w 506"/>
                  <a:gd name="T25" fmla="*/ 59 h 324"/>
                  <a:gd name="T26" fmla="*/ 58 w 506"/>
                  <a:gd name="T27" fmla="*/ 81 h 324"/>
                  <a:gd name="T28" fmla="*/ 53 w 506"/>
                  <a:gd name="T29" fmla="*/ 93 h 324"/>
                  <a:gd name="T30" fmla="*/ 90 w 506"/>
                  <a:gd name="T31" fmla="*/ 108 h 324"/>
                  <a:gd name="T32" fmla="*/ 117 w 506"/>
                  <a:gd name="T33" fmla="*/ 89 h 324"/>
                  <a:gd name="T34" fmla="*/ 149 w 506"/>
                  <a:gd name="T35" fmla="*/ 89 h 324"/>
                  <a:gd name="T36" fmla="*/ 169 w 506"/>
                  <a:gd name="T37" fmla="*/ 73 h 324"/>
                  <a:gd name="T38" fmla="*/ 169 w 506"/>
                  <a:gd name="T39" fmla="*/ 73 h 32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06" h="324">
                    <a:moveTo>
                      <a:pt x="506" y="219"/>
                    </a:moveTo>
                    <a:lnTo>
                      <a:pt x="506" y="152"/>
                    </a:lnTo>
                    <a:lnTo>
                      <a:pt x="415" y="128"/>
                    </a:lnTo>
                    <a:lnTo>
                      <a:pt x="398" y="80"/>
                    </a:lnTo>
                    <a:lnTo>
                      <a:pt x="359" y="80"/>
                    </a:lnTo>
                    <a:lnTo>
                      <a:pt x="323" y="27"/>
                    </a:lnTo>
                    <a:lnTo>
                      <a:pt x="222" y="27"/>
                    </a:lnTo>
                    <a:lnTo>
                      <a:pt x="150" y="80"/>
                    </a:lnTo>
                    <a:lnTo>
                      <a:pt x="94" y="0"/>
                    </a:lnTo>
                    <a:lnTo>
                      <a:pt x="48" y="0"/>
                    </a:lnTo>
                    <a:lnTo>
                      <a:pt x="0" y="48"/>
                    </a:lnTo>
                    <a:lnTo>
                      <a:pt x="30" y="128"/>
                    </a:lnTo>
                    <a:lnTo>
                      <a:pt x="111" y="176"/>
                    </a:lnTo>
                    <a:lnTo>
                      <a:pt x="174" y="244"/>
                    </a:lnTo>
                    <a:lnTo>
                      <a:pt x="158" y="280"/>
                    </a:lnTo>
                    <a:lnTo>
                      <a:pt x="270" y="324"/>
                    </a:lnTo>
                    <a:lnTo>
                      <a:pt x="350" y="268"/>
                    </a:lnTo>
                    <a:lnTo>
                      <a:pt x="445" y="268"/>
                    </a:lnTo>
                    <a:lnTo>
                      <a:pt x="506" y="21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0" name="Freeform 52">
                <a:extLst>
                  <a:ext uri="{FF2B5EF4-FFF2-40B4-BE49-F238E27FC236}">
                    <a16:creationId xmlns:a16="http://schemas.microsoft.com/office/drawing/2014/main" id="{109F2D5D-F569-48F5-AC26-F2AD3AD85C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9" y="3675"/>
                <a:ext cx="37" cy="39"/>
              </a:xfrm>
              <a:custGeom>
                <a:avLst/>
                <a:gdLst>
                  <a:gd name="T0" fmla="*/ 37 w 110"/>
                  <a:gd name="T1" fmla="*/ 36 h 115"/>
                  <a:gd name="T2" fmla="*/ 31 w 110"/>
                  <a:gd name="T3" fmla="*/ 0 h 115"/>
                  <a:gd name="T4" fmla="*/ 0 w 110"/>
                  <a:gd name="T5" fmla="*/ 31 h 115"/>
                  <a:gd name="T6" fmla="*/ 4 w 110"/>
                  <a:gd name="T7" fmla="*/ 39 h 115"/>
                  <a:gd name="T8" fmla="*/ 37 w 110"/>
                  <a:gd name="T9" fmla="*/ 36 h 115"/>
                  <a:gd name="T10" fmla="*/ 37 w 110"/>
                  <a:gd name="T11" fmla="*/ 36 h 1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0" h="115">
                    <a:moveTo>
                      <a:pt x="110" y="107"/>
                    </a:moveTo>
                    <a:lnTo>
                      <a:pt x="92" y="0"/>
                    </a:lnTo>
                    <a:lnTo>
                      <a:pt x="0" y="91"/>
                    </a:lnTo>
                    <a:lnTo>
                      <a:pt x="11" y="115"/>
                    </a:lnTo>
                    <a:lnTo>
                      <a:pt x="110" y="10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1" name="Freeform 53">
                <a:extLst>
                  <a:ext uri="{FF2B5EF4-FFF2-40B4-BE49-F238E27FC236}">
                    <a16:creationId xmlns:a16="http://schemas.microsoft.com/office/drawing/2014/main" id="{2AC56569-1AAE-4590-895D-7B0D8D724C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41" y="3606"/>
                <a:ext cx="58" cy="54"/>
              </a:xfrm>
              <a:custGeom>
                <a:avLst/>
                <a:gdLst>
                  <a:gd name="T0" fmla="*/ 52 w 173"/>
                  <a:gd name="T1" fmla="*/ 54 h 161"/>
                  <a:gd name="T2" fmla="*/ 58 w 173"/>
                  <a:gd name="T3" fmla="*/ 35 h 161"/>
                  <a:gd name="T4" fmla="*/ 39 w 173"/>
                  <a:gd name="T5" fmla="*/ 16 h 161"/>
                  <a:gd name="T6" fmla="*/ 37 w 173"/>
                  <a:gd name="T7" fmla="*/ 0 h 161"/>
                  <a:gd name="T8" fmla="*/ 0 w 173"/>
                  <a:gd name="T9" fmla="*/ 0 h 161"/>
                  <a:gd name="T10" fmla="*/ 0 w 173"/>
                  <a:gd name="T11" fmla="*/ 19 h 161"/>
                  <a:gd name="T12" fmla="*/ 18 w 173"/>
                  <a:gd name="T13" fmla="*/ 35 h 161"/>
                  <a:gd name="T14" fmla="*/ 52 w 173"/>
                  <a:gd name="T15" fmla="*/ 54 h 161"/>
                  <a:gd name="T16" fmla="*/ 52 w 173"/>
                  <a:gd name="T17" fmla="*/ 54 h 16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3" h="161">
                    <a:moveTo>
                      <a:pt x="155" y="161"/>
                    </a:moveTo>
                    <a:lnTo>
                      <a:pt x="173" y="104"/>
                    </a:lnTo>
                    <a:lnTo>
                      <a:pt x="116" y="47"/>
                    </a:lnTo>
                    <a:lnTo>
                      <a:pt x="110" y="0"/>
                    </a:lnTo>
                    <a:lnTo>
                      <a:pt x="0" y="0"/>
                    </a:lnTo>
                    <a:lnTo>
                      <a:pt x="0" y="56"/>
                    </a:lnTo>
                    <a:lnTo>
                      <a:pt x="54" y="104"/>
                    </a:lnTo>
                    <a:lnTo>
                      <a:pt x="155" y="161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" name="Freeform 54">
                <a:extLst>
                  <a:ext uri="{FF2B5EF4-FFF2-40B4-BE49-F238E27FC236}">
                    <a16:creationId xmlns:a16="http://schemas.microsoft.com/office/drawing/2014/main" id="{2B9E55F7-9B47-403D-B813-E1060E5802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85" y="3537"/>
                <a:ext cx="135" cy="46"/>
              </a:xfrm>
              <a:custGeom>
                <a:avLst/>
                <a:gdLst>
                  <a:gd name="T0" fmla="*/ 135 w 407"/>
                  <a:gd name="T1" fmla="*/ 19 h 139"/>
                  <a:gd name="T2" fmla="*/ 122 w 407"/>
                  <a:gd name="T3" fmla="*/ 7 h 139"/>
                  <a:gd name="T4" fmla="*/ 89 w 407"/>
                  <a:gd name="T5" fmla="*/ 19 h 139"/>
                  <a:gd name="T6" fmla="*/ 10 w 407"/>
                  <a:gd name="T7" fmla="*/ 0 h 139"/>
                  <a:gd name="T8" fmla="*/ 0 w 407"/>
                  <a:gd name="T9" fmla="*/ 23 h 139"/>
                  <a:gd name="T10" fmla="*/ 0 w 407"/>
                  <a:gd name="T11" fmla="*/ 34 h 139"/>
                  <a:gd name="T12" fmla="*/ 37 w 407"/>
                  <a:gd name="T13" fmla="*/ 38 h 139"/>
                  <a:gd name="T14" fmla="*/ 56 w 407"/>
                  <a:gd name="T15" fmla="*/ 29 h 139"/>
                  <a:gd name="T16" fmla="*/ 74 w 407"/>
                  <a:gd name="T17" fmla="*/ 46 h 139"/>
                  <a:gd name="T18" fmla="*/ 104 w 407"/>
                  <a:gd name="T19" fmla="*/ 46 h 139"/>
                  <a:gd name="T20" fmla="*/ 122 w 407"/>
                  <a:gd name="T21" fmla="*/ 34 h 139"/>
                  <a:gd name="T22" fmla="*/ 135 w 407"/>
                  <a:gd name="T23" fmla="*/ 19 h 139"/>
                  <a:gd name="T24" fmla="*/ 135 w 407"/>
                  <a:gd name="T25" fmla="*/ 19 h 13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07" h="139">
                    <a:moveTo>
                      <a:pt x="407" y="57"/>
                    </a:moveTo>
                    <a:lnTo>
                      <a:pt x="369" y="22"/>
                    </a:lnTo>
                    <a:lnTo>
                      <a:pt x="269" y="57"/>
                    </a:lnTo>
                    <a:lnTo>
                      <a:pt x="29" y="0"/>
                    </a:lnTo>
                    <a:lnTo>
                      <a:pt x="0" y="70"/>
                    </a:lnTo>
                    <a:lnTo>
                      <a:pt x="0" y="104"/>
                    </a:lnTo>
                    <a:lnTo>
                      <a:pt x="113" y="115"/>
                    </a:lnTo>
                    <a:lnTo>
                      <a:pt x="169" y="87"/>
                    </a:lnTo>
                    <a:lnTo>
                      <a:pt x="223" y="139"/>
                    </a:lnTo>
                    <a:lnTo>
                      <a:pt x="314" y="139"/>
                    </a:lnTo>
                    <a:lnTo>
                      <a:pt x="369" y="104"/>
                    </a:lnTo>
                    <a:lnTo>
                      <a:pt x="407" y="5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" name="Freeform 55">
                <a:extLst>
                  <a:ext uri="{FF2B5EF4-FFF2-40B4-BE49-F238E27FC236}">
                    <a16:creationId xmlns:a16="http://schemas.microsoft.com/office/drawing/2014/main" id="{9CE54BCC-41FE-45CD-923C-0CCEA773BD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61" y="3429"/>
                <a:ext cx="144" cy="108"/>
              </a:xfrm>
              <a:custGeom>
                <a:avLst/>
                <a:gdLst>
                  <a:gd name="T0" fmla="*/ 141 w 433"/>
                  <a:gd name="T1" fmla="*/ 96 h 323"/>
                  <a:gd name="T2" fmla="*/ 144 w 433"/>
                  <a:gd name="T3" fmla="*/ 84 h 323"/>
                  <a:gd name="T4" fmla="*/ 129 w 433"/>
                  <a:gd name="T5" fmla="*/ 81 h 323"/>
                  <a:gd name="T6" fmla="*/ 129 w 433"/>
                  <a:gd name="T7" fmla="*/ 54 h 323"/>
                  <a:gd name="T8" fmla="*/ 113 w 433"/>
                  <a:gd name="T9" fmla="*/ 65 h 323"/>
                  <a:gd name="T10" fmla="*/ 98 w 433"/>
                  <a:gd name="T11" fmla="*/ 38 h 323"/>
                  <a:gd name="T12" fmla="*/ 110 w 433"/>
                  <a:gd name="T13" fmla="*/ 38 h 323"/>
                  <a:gd name="T14" fmla="*/ 80 w 433"/>
                  <a:gd name="T15" fmla="*/ 0 h 323"/>
                  <a:gd name="T16" fmla="*/ 61 w 433"/>
                  <a:gd name="T17" fmla="*/ 0 h 323"/>
                  <a:gd name="T18" fmla="*/ 43 w 433"/>
                  <a:gd name="T19" fmla="*/ 31 h 323"/>
                  <a:gd name="T20" fmla="*/ 0 w 433"/>
                  <a:gd name="T21" fmla="*/ 31 h 323"/>
                  <a:gd name="T22" fmla="*/ 16 w 433"/>
                  <a:gd name="T23" fmla="*/ 69 h 323"/>
                  <a:gd name="T24" fmla="*/ 33 w 433"/>
                  <a:gd name="T25" fmla="*/ 100 h 323"/>
                  <a:gd name="T26" fmla="*/ 73 w 433"/>
                  <a:gd name="T27" fmla="*/ 100 h 323"/>
                  <a:gd name="T28" fmla="*/ 65 w 433"/>
                  <a:gd name="T29" fmla="*/ 84 h 323"/>
                  <a:gd name="T30" fmla="*/ 86 w 433"/>
                  <a:gd name="T31" fmla="*/ 84 h 323"/>
                  <a:gd name="T32" fmla="*/ 95 w 433"/>
                  <a:gd name="T33" fmla="*/ 89 h 323"/>
                  <a:gd name="T34" fmla="*/ 107 w 433"/>
                  <a:gd name="T35" fmla="*/ 108 h 323"/>
                  <a:gd name="T36" fmla="*/ 141 w 433"/>
                  <a:gd name="T37" fmla="*/ 96 h 323"/>
                  <a:gd name="T38" fmla="*/ 141 w 433"/>
                  <a:gd name="T39" fmla="*/ 96 h 32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33" h="323">
                    <a:moveTo>
                      <a:pt x="425" y="287"/>
                    </a:moveTo>
                    <a:lnTo>
                      <a:pt x="433" y="252"/>
                    </a:lnTo>
                    <a:lnTo>
                      <a:pt x="388" y="241"/>
                    </a:lnTo>
                    <a:lnTo>
                      <a:pt x="388" y="161"/>
                    </a:lnTo>
                    <a:lnTo>
                      <a:pt x="341" y="195"/>
                    </a:lnTo>
                    <a:lnTo>
                      <a:pt x="296" y="115"/>
                    </a:lnTo>
                    <a:lnTo>
                      <a:pt x="332" y="115"/>
                    </a:lnTo>
                    <a:lnTo>
                      <a:pt x="240" y="0"/>
                    </a:lnTo>
                    <a:lnTo>
                      <a:pt x="184" y="0"/>
                    </a:lnTo>
                    <a:lnTo>
                      <a:pt x="128" y="92"/>
                    </a:lnTo>
                    <a:lnTo>
                      <a:pt x="0" y="92"/>
                    </a:lnTo>
                    <a:lnTo>
                      <a:pt x="48" y="207"/>
                    </a:lnTo>
                    <a:lnTo>
                      <a:pt x="100" y="299"/>
                    </a:lnTo>
                    <a:lnTo>
                      <a:pt x="221" y="299"/>
                    </a:lnTo>
                    <a:lnTo>
                      <a:pt x="195" y="252"/>
                    </a:lnTo>
                    <a:lnTo>
                      <a:pt x="258" y="252"/>
                    </a:lnTo>
                    <a:lnTo>
                      <a:pt x="286" y="266"/>
                    </a:lnTo>
                    <a:lnTo>
                      <a:pt x="321" y="323"/>
                    </a:lnTo>
                    <a:lnTo>
                      <a:pt x="425" y="28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" name="Freeform 56">
                <a:extLst>
                  <a:ext uri="{FF2B5EF4-FFF2-40B4-BE49-F238E27FC236}">
                    <a16:creationId xmlns:a16="http://schemas.microsoft.com/office/drawing/2014/main" id="{06731765-426A-418A-B974-D3BDDA16B5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18" y="3316"/>
                <a:ext cx="117" cy="96"/>
              </a:xfrm>
              <a:custGeom>
                <a:avLst/>
                <a:gdLst>
                  <a:gd name="T0" fmla="*/ 80 w 350"/>
                  <a:gd name="T1" fmla="*/ 85 h 288"/>
                  <a:gd name="T2" fmla="*/ 90 w 350"/>
                  <a:gd name="T3" fmla="*/ 74 h 288"/>
                  <a:gd name="T4" fmla="*/ 95 w 350"/>
                  <a:gd name="T5" fmla="*/ 66 h 288"/>
                  <a:gd name="T6" fmla="*/ 95 w 350"/>
                  <a:gd name="T7" fmla="*/ 46 h 288"/>
                  <a:gd name="T8" fmla="*/ 117 w 350"/>
                  <a:gd name="T9" fmla="*/ 34 h 288"/>
                  <a:gd name="T10" fmla="*/ 117 w 350"/>
                  <a:gd name="T11" fmla="*/ 16 h 288"/>
                  <a:gd name="T12" fmla="*/ 105 w 350"/>
                  <a:gd name="T13" fmla="*/ 0 h 288"/>
                  <a:gd name="T14" fmla="*/ 71 w 350"/>
                  <a:gd name="T15" fmla="*/ 0 h 288"/>
                  <a:gd name="T16" fmla="*/ 55 w 350"/>
                  <a:gd name="T17" fmla="*/ 3 h 288"/>
                  <a:gd name="T18" fmla="*/ 16 w 350"/>
                  <a:gd name="T19" fmla="*/ 20 h 288"/>
                  <a:gd name="T20" fmla="*/ 0 w 350"/>
                  <a:gd name="T21" fmla="*/ 42 h 288"/>
                  <a:gd name="T22" fmla="*/ 0 w 350"/>
                  <a:gd name="T23" fmla="*/ 69 h 288"/>
                  <a:gd name="T24" fmla="*/ 40 w 350"/>
                  <a:gd name="T25" fmla="*/ 74 h 288"/>
                  <a:gd name="T26" fmla="*/ 52 w 350"/>
                  <a:gd name="T27" fmla="*/ 96 h 288"/>
                  <a:gd name="T28" fmla="*/ 71 w 350"/>
                  <a:gd name="T29" fmla="*/ 88 h 288"/>
                  <a:gd name="T30" fmla="*/ 80 w 350"/>
                  <a:gd name="T31" fmla="*/ 85 h 288"/>
                  <a:gd name="T32" fmla="*/ 80 w 350"/>
                  <a:gd name="T33" fmla="*/ 85 h 28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50" h="288">
                    <a:moveTo>
                      <a:pt x="240" y="254"/>
                    </a:moveTo>
                    <a:lnTo>
                      <a:pt x="269" y="222"/>
                    </a:lnTo>
                    <a:lnTo>
                      <a:pt x="285" y="197"/>
                    </a:lnTo>
                    <a:lnTo>
                      <a:pt x="285" y="139"/>
                    </a:lnTo>
                    <a:lnTo>
                      <a:pt x="350" y="103"/>
                    </a:lnTo>
                    <a:lnTo>
                      <a:pt x="350" y="47"/>
                    </a:lnTo>
                    <a:lnTo>
                      <a:pt x="313" y="0"/>
                    </a:lnTo>
                    <a:lnTo>
                      <a:pt x="212" y="0"/>
                    </a:lnTo>
                    <a:lnTo>
                      <a:pt x="164" y="10"/>
                    </a:lnTo>
                    <a:lnTo>
                      <a:pt x="47" y="59"/>
                    </a:lnTo>
                    <a:lnTo>
                      <a:pt x="0" y="127"/>
                    </a:lnTo>
                    <a:lnTo>
                      <a:pt x="0" y="208"/>
                    </a:lnTo>
                    <a:lnTo>
                      <a:pt x="121" y="222"/>
                    </a:lnTo>
                    <a:lnTo>
                      <a:pt x="156" y="288"/>
                    </a:lnTo>
                    <a:lnTo>
                      <a:pt x="212" y="264"/>
                    </a:lnTo>
                    <a:lnTo>
                      <a:pt x="240" y="25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" name="Freeform 57">
                <a:extLst>
                  <a:ext uri="{FF2B5EF4-FFF2-40B4-BE49-F238E27FC236}">
                    <a16:creationId xmlns:a16="http://schemas.microsoft.com/office/drawing/2014/main" id="{F0B36838-71DD-49E8-A371-2322562AC4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7" y="3373"/>
                <a:ext cx="51" cy="58"/>
              </a:xfrm>
              <a:custGeom>
                <a:avLst/>
                <a:gdLst>
                  <a:gd name="T0" fmla="*/ 6 w 154"/>
                  <a:gd name="T1" fmla="*/ 58 h 174"/>
                  <a:gd name="T2" fmla="*/ 14 w 154"/>
                  <a:gd name="T3" fmla="*/ 35 h 174"/>
                  <a:gd name="T4" fmla="*/ 39 w 154"/>
                  <a:gd name="T5" fmla="*/ 23 h 174"/>
                  <a:gd name="T6" fmla="*/ 39 w 154"/>
                  <a:gd name="T7" fmla="*/ 16 h 174"/>
                  <a:gd name="T8" fmla="*/ 51 w 154"/>
                  <a:gd name="T9" fmla="*/ 0 h 174"/>
                  <a:gd name="T10" fmla="*/ 33 w 154"/>
                  <a:gd name="T11" fmla="*/ 0 h 174"/>
                  <a:gd name="T12" fmla="*/ 21 w 154"/>
                  <a:gd name="T13" fmla="*/ 20 h 174"/>
                  <a:gd name="T14" fmla="*/ 2 w 154"/>
                  <a:gd name="T15" fmla="*/ 23 h 174"/>
                  <a:gd name="T16" fmla="*/ 0 w 154"/>
                  <a:gd name="T17" fmla="*/ 58 h 174"/>
                  <a:gd name="T18" fmla="*/ 6 w 154"/>
                  <a:gd name="T19" fmla="*/ 58 h 174"/>
                  <a:gd name="T20" fmla="*/ 6 w 154"/>
                  <a:gd name="T21" fmla="*/ 58 h 17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54" h="174">
                    <a:moveTo>
                      <a:pt x="17" y="174"/>
                    </a:moveTo>
                    <a:lnTo>
                      <a:pt x="42" y="104"/>
                    </a:lnTo>
                    <a:lnTo>
                      <a:pt x="117" y="69"/>
                    </a:lnTo>
                    <a:lnTo>
                      <a:pt x="117" y="49"/>
                    </a:lnTo>
                    <a:lnTo>
                      <a:pt x="154" y="0"/>
                    </a:lnTo>
                    <a:lnTo>
                      <a:pt x="99" y="0"/>
                    </a:lnTo>
                    <a:lnTo>
                      <a:pt x="63" y="59"/>
                    </a:lnTo>
                    <a:lnTo>
                      <a:pt x="7" y="69"/>
                    </a:lnTo>
                    <a:lnTo>
                      <a:pt x="0" y="174"/>
                    </a:lnTo>
                    <a:lnTo>
                      <a:pt x="17" y="17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3" name="Group 91">
              <a:extLst>
                <a:ext uri="{FF2B5EF4-FFF2-40B4-BE49-F238E27FC236}">
                  <a16:creationId xmlns:a16="http://schemas.microsoft.com/office/drawing/2014/main" id="{F74C0778-14A9-4D74-AB9F-C71929A62657}"/>
                </a:ext>
              </a:extLst>
            </p:cNvPr>
            <p:cNvGrpSpPr>
              <a:grpSpLocks/>
            </p:cNvGrpSpPr>
            <p:nvPr/>
          </p:nvGrpSpPr>
          <p:grpSpPr bwMode="gray">
            <a:xfrm rot="19134295">
              <a:off x="855559" y="2709419"/>
              <a:ext cx="1837493" cy="1814128"/>
              <a:chOff x="1051" y="888"/>
              <a:chExt cx="1026" cy="1012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67" name="Freeform 92">
                <a:extLst>
                  <a:ext uri="{FF2B5EF4-FFF2-40B4-BE49-F238E27FC236}">
                    <a16:creationId xmlns:a16="http://schemas.microsoft.com/office/drawing/2014/main" id="{3610DC9C-ADB2-4BE7-AF58-57B2F08646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12" y="888"/>
                <a:ext cx="865" cy="1012"/>
              </a:xfrm>
              <a:custGeom>
                <a:avLst/>
                <a:gdLst>
                  <a:gd name="T0" fmla="*/ 378 w 515"/>
                  <a:gd name="T1" fmla="*/ 457 h 602"/>
                  <a:gd name="T2" fmla="*/ 406 w 515"/>
                  <a:gd name="T3" fmla="*/ 440 h 602"/>
                  <a:gd name="T4" fmla="*/ 291 w 515"/>
                  <a:gd name="T5" fmla="*/ 459 h 602"/>
                  <a:gd name="T6" fmla="*/ 227 w 515"/>
                  <a:gd name="T7" fmla="*/ 482 h 602"/>
                  <a:gd name="T8" fmla="*/ 104 w 515"/>
                  <a:gd name="T9" fmla="*/ 477 h 602"/>
                  <a:gd name="T10" fmla="*/ 37 w 515"/>
                  <a:gd name="T11" fmla="*/ 437 h 602"/>
                  <a:gd name="T12" fmla="*/ 37 w 515"/>
                  <a:gd name="T13" fmla="*/ 415 h 602"/>
                  <a:gd name="T14" fmla="*/ 116 w 515"/>
                  <a:gd name="T15" fmla="*/ 439 h 602"/>
                  <a:gd name="T16" fmla="*/ 217 w 515"/>
                  <a:gd name="T17" fmla="*/ 419 h 602"/>
                  <a:gd name="T18" fmla="*/ 198 w 515"/>
                  <a:gd name="T19" fmla="*/ 395 h 602"/>
                  <a:gd name="T20" fmla="*/ 178 w 515"/>
                  <a:gd name="T21" fmla="*/ 331 h 602"/>
                  <a:gd name="T22" fmla="*/ 217 w 515"/>
                  <a:gd name="T23" fmla="*/ 282 h 602"/>
                  <a:gd name="T24" fmla="*/ 244 w 515"/>
                  <a:gd name="T25" fmla="*/ 237 h 602"/>
                  <a:gd name="T26" fmla="*/ 249 w 515"/>
                  <a:gd name="T27" fmla="*/ 203 h 602"/>
                  <a:gd name="T28" fmla="*/ 312 w 515"/>
                  <a:gd name="T29" fmla="*/ 183 h 602"/>
                  <a:gd name="T30" fmla="*/ 375 w 515"/>
                  <a:gd name="T31" fmla="*/ 192 h 602"/>
                  <a:gd name="T32" fmla="*/ 440 w 515"/>
                  <a:gd name="T33" fmla="*/ 182 h 602"/>
                  <a:gd name="T34" fmla="*/ 422 w 515"/>
                  <a:gd name="T35" fmla="*/ 153 h 602"/>
                  <a:gd name="T36" fmla="*/ 420 w 515"/>
                  <a:gd name="T37" fmla="*/ 91 h 602"/>
                  <a:gd name="T38" fmla="*/ 477 w 515"/>
                  <a:gd name="T39" fmla="*/ 76 h 602"/>
                  <a:gd name="T40" fmla="*/ 494 w 515"/>
                  <a:gd name="T41" fmla="*/ 123 h 602"/>
                  <a:gd name="T42" fmla="*/ 514 w 515"/>
                  <a:gd name="T43" fmla="*/ 104 h 602"/>
                  <a:gd name="T44" fmla="*/ 539 w 515"/>
                  <a:gd name="T45" fmla="*/ 50 h 602"/>
                  <a:gd name="T46" fmla="*/ 588 w 515"/>
                  <a:gd name="T47" fmla="*/ 10 h 602"/>
                  <a:gd name="T48" fmla="*/ 687 w 515"/>
                  <a:gd name="T49" fmla="*/ 17 h 602"/>
                  <a:gd name="T50" fmla="*/ 731 w 515"/>
                  <a:gd name="T51" fmla="*/ 34 h 602"/>
                  <a:gd name="T52" fmla="*/ 756 w 515"/>
                  <a:gd name="T53" fmla="*/ 79 h 602"/>
                  <a:gd name="T54" fmla="*/ 788 w 515"/>
                  <a:gd name="T55" fmla="*/ 129 h 602"/>
                  <a:gd name="T56" fmla="*/ 820 w 515"/>
                  <a:gd name="T57" fmla="*/ 188 h 602"/>
                  <a:gd name="T58" fmla="*/ 537 w 515"/>
                  <a:gd name="T59" fmla="*/ 614 h 602"/>
                  <a:gd name="T60" fmla="*/ 568 w 515"/>
                  <a:gd name="T61" fmla="*/ 654 h 602"/>
                  <a:gd name="T62" fmla="*/ 574 w 515"/>
                  <a:gd name="T63" fmla="*/ 719 h 602"/>
                  <a:gd name="T64" fmla="*/ 628 w 515"/>
                  <a:gd name="T65" fmla="*/ 714 h 602"/>
                  <a:gd name="T66" fmla="*/ 642 w 515"/>
                  <a:gd name="T67" fmla="*/ 773 h 602"/>
                  <a:gd name="T68" fmla="*/ 638 w 515"/>
                  <a:gd name="T69" fmla="*/ 859 h 602"/>
                  <a:gd name="T70" fmla="*/ 663 w 515"/>
                  <a:gd name="T71" fmla="*/ 960 h 602"/>
                  <a:gd name="T72" fmla="*/ 630 w 515"/>
                  <a:gd name="T73" fmla="*/ 1002 h 602"/>
                  <a:gd name="T74" fmla="*/ 618 w 515"/>
                  <a:gd name="T75" fmla="*/ 999 h 602"/>
                  <a:gd name="T76" fmla="*/ 630 w 515"/>
                  <a:gd name="T77" fmla="*/ 970 h 602"/>
                  <a:gd name="T78" fmla="*/ 600 w 515"/>
                  <a:gd name="T79" fmla="*/ 950 h 602"/>
                  <a:gd name="T80" fmla="*/ 616 w 515"/>
                  <a:gd name="T81" fmla="*/ 921 h 602"/>
                  <a:gd name="T82" fmla="*/ 616 w 515"/>
                  <a:gd name="T83" fmla="*/ 883 h 602"/>
                  <a:gd name="T84" fmla="*/ 620 w 515"/>
                  <a:gd name="T85" fmla="*/ 852 h 602"/>
                  <a:gd name="T86" fmla="*/ 621 w 515"/>
                  <a:gd name="T87" fmla="*/ 805 h 602"/>
                  <a:gd name="T88" fmla="*/ 623 w 515"/>
                  <a:gd name="T89" fmla="*/ 758 h 602"/>
                  <a:gd name="T90" fmla="*/ 595 w 515"/>
                  <a:gd name="T91" fmla="*/ 782 h 602"/>
                  <a:gd name="T92" fmla="*/ 579 w 515"/>
                  <a:gd name="T93" fmla="*/ 773 h 602"/>
                  <a:gd name="T94" fmla="*/ 553 w 515"/>
                  <a:gd name="T95" fmla="*/ 736 h 602"/>
                  <a:gd name="T96" fmla="*/ 536 w 515"/>
                  <a:gd name="T97" fmla="*/ 686 h 602"/>
                  <a:gd name="T98" fmla="*/ 531 w 515"/>
                  <a:gd name="T99" fmla="*/ 656 h 602"/>
                  <a:gd name="T100" fmla="*/ 509 w 515"/>
                  <a:gd name="T101" fmla="*/ 624 h 602"/>
                  <a:gd name="T102" fmla="*/ 472 w 515"/>
                  <a:gd name="T103" fmla="*/ 592 h 602"/>
                  <a:gd name="T104" fmla="*/ 469 w 515"/>
                  <a:gd name="T105" fmla="*/ 530 h 602"/>
                  <a:gd name="T106" fmla="*/ 413 w 515"/>
                  <a:gd name="T107" fmla="*/ 506 h 60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515" h="602">
                    <a:moveTo>
                      <a:pt x="212" y="295"/>
                    </a:moveTo>
                    <a:cubicBezTo>
                      <a:pt x="212" y="295"/>
                      <a:pt x="212" y="295"/>
                      <a:pt x="208" y="295"/>
                    </a:cubicBezTo>
                    <a:cubicBezTo>
                      <a:pt x="204" y="295"/>
                      <a:pt x="201" y="295"/>
                      <a:pt x="195" y="290"/>
                    </a:cubicBezTo>
                    <a:cubicBezTo>
                      <a:pt x="195" y="290"/>
                      <a:pt x="201" y="288"/>
                      <a:pt x="206" y="288"/>
                    </a:cubicBezTo>
                    <a:cubicBezTo>
                      <a:pt x="211" y="288"/>
                      <a:pt x="211" y="288"/>
                      <a:pt x="211" y="278"/>
                    </a:cubicBezTo>
                    <a:cubicBezTo>
                      <a:pt x="211" y="278"/>
                      <a:pt x="216" y="272"/>
                      <a:pt x="225" y="272"/>
                    </a:cubicBezTo>
                    <a:cubicBezTo>
                      <a:pt x="234" y="272"/>
                      <a:pt x="234" y="272"/>
                      <a:pt x="234" y="272"/>
                    </a:cubicBezTo>
                    <a:cubicBezTo>
                      <a:pt x="243" y="273"/>
                      <a:pt x="243" y="273"/>
                      <a:pt x="243" y="273"/>
                    </a:cubicBezTo>
                    <a:cubicBezTo>
                      <a:pt x="243" y="273"/>
                      <a:pt x="248" y="273"/>
                      <a:pt x="258" y="273"/>
                    </a:cubicBezTo>
                    <a:cubicBezTo>
                      <a:pt x="267" y="273"/>
                      <a:pt x="262" y="269"/>
                      <a:pt x="262" y="269"/>
                    </a:cubicBezTo>
                    <a:cubicBezTo>
                      <a:pt x="262" y="269"/>
                      <a:pt x="254" y="265"/>
                      <a:pt x="251" y="262"/>
                    </a:cubicBezTo>
                    <a:cubicBezTo>
                      <a:pt x="247" y="258"/>
                      <a:pt x="242" y="262"/>
                      <a:pt x="242" y="262"/>
                    </a:cubicBezTo>
                    <a:cubicBezTo>
                      <a:pt x="230" y="262"/>
                      <a:pt x="230" y="262"/>
                      <a:pt x="230" y="262"/>
                    </a:cubicBezTo>
                    <a:cubicBezTo>
                      <a:pt x="224" y="262"/>
                      <a:pt x="224" y="262"/>
                      <a:pt x="224" y="262"/>
                    </a:cubicBezTo>
                    <a:cubicBezTo>
                      <a:pt x="214" y="265"/>
                      <a:pt x="214" y="265"/>
                      <a:pt x="214" y="265"/>
                    </a:cubicBezTo>
                    <a:cubicBezTo>
                      <a:pt x="207" y="267"/>
                      <a:pt x="207" y="267"/>
                      <a:pt x="207" y="267"/>
                    </a:cubicBezTo>
                    <a:cubicBezTo>
                      <a:pt x="195" y="268"/>
                      <a:pt x="195" y="268"/>
                      <a:pt x="195" y="268"/>
                    </a:cubicBezTo>
                    <a:cubicBezTo>
                      <a:pt x="195" y="268"/>
                      <a:pt x="177" y="269"/>
                      <a:pt x="173" y="273"/>
                    </a:cubicBezTo>
                    <a:cubicBezTo>
                      <a:pt x="174" y="279"/>
                      <a:pt x="174" y="279"/>
                      <a:pt x="174" y="279"/>
                    </a:cubicBezTo>
                    <a:cubicBezTo>
                      <a:pt x="171" y="288"/>
                      <a:pt x="171" y="288"/>
                      <a:pt x="171" y="288"/>
                    </a:cubicBezTo>
                    <a:cubicBezTo>
                      <a:pt x="171" y="288"/>
                      <a:pt x="171" y="288"/>
                      <a:pt x="166" y="288"/>
                    </a:cubicBezTo>
                    <a:cubicBezTo>
                      <a:pt x="160" y="288"/>
                      <a:pt x="158" y="289"/>
                      <a:pt x="158" y="289"/>
                    </a:cubicBezTo>
                    <a:cubicBezTo>
                      <a:pt x="158" y="289"/>
                      <a:pt x="151" y="288"/>
                      <a:pt x="144" y="288"/>
                    </a:cubicBezTo>
                    <a:cubicBezTo>
                      <a:pt x="136" y="288"/>
                      <a:pt x="135" y="287"/>
                      <a:pt x="135" y="287"/>
                    </a:cubicBezTo>
                    <a:cubicBezTo>
                      <a:pt x="125" y="287"/>
                      <a:pt x="125" y="287"/>
                      <a:pt x="125" y="287"/>
                    </a:cubicBezTo>
                    <a:cubicBezTo>
                      <a:pt x="125" y="287"/>
                      <a:pt x="117" y="286"/>
                      <a:pt x="106" y="286"/>
                    </a:cubicBezTo>
                    <a:cubicBezTo>
                      <a:pt x="96" y="286"/>
                      <a:pt x="97" y="284"/>
                      <a:pt x="92" y="284"/>
                    </a:cubicBezTo>
                    <a:cubicBezTo>
                      <a:pt x="87" y="284"/>
                      <a:pt x="85" y="284"/>
                      <a:pt x="85" y="284"/>
                    </a:cubicBezTo>
                    <a:cubicBezTo>
                      <a:pt x="85" y="284"/>
                      <a:pt x="85" y="284"/>
                      <a:pt x="72" y="284"/>
                    </a:cubicBezTo>
                    <a:cubicBezTo>
                      <a:pt x="59" y="284"/>
                      <a:pt x="72" y="284"/>
                      <a:pt x="62" y="284"/>
                    </a:cubicBezTo>
                    <a:cubicBezTo>
                      <a:pt x="51" y="284"/>
                      <a:pt x="52" y="284"/>
                      <a:pt x="52" y="284"/>
                    </a:cubicBezTo>
                    <a:cubicBezTo>
                      <a:pt x="48" y="277"/>
                      <a:pt x="48" y="277"/>
                      <a:pt x="48" y="277"/>
                    </a:cubicBezTo>
                    <a:cubicBezTo>
                      <a:pt x="43" y="272"/>
                      <a:pt x="43" y="272"/>
                      <a:pt x="43" y="272"/>
                    </a:cubicBezTo>
                    <a:cubicBezTo>
                      <a:pt x="27" y="269"/>
                      <a:pt x="27" y="269"/>
                      <a:pt x="27" y="269"/>
                    </a:cubicBezTo>
                    <a:cubicBezTo>
                      <a:pt x="23" y="266"/>
                      <a:pt x="23" y="266"/>
                      <a:pt x="23" y="266"/>
                    </a:cubicBezTo>
                    <a:cubicBezTo>
                      <a:pt x="22" y="260"/>
                      <a:pt x="22" y="260"/>
                      <a:pt x="22" y="260"/>
                    </a:cubicBezTo>
                    <a:cubicBezTo>
                      <a:pt x="22" y="260"/>
                      <a:pt x="22" y="260"/>
                      <a:pt x="20" y="257"/>
                    </a:cubicBezTo>
                    <a:cubicBezTo>
                      <a:pt x="17" y="254"/>
                      <a:pt x="20" y="257"/>
                      <a:pt x="10" y="257"/>
                    </a:cubicBezTo>
                    <a:cubicBezTo>
                      <a:pt x="0" y="257"/>
                      <a:pt x="2" y="257"/>
                      <a:pt x="2" y="257"/>
                    </a:cubicBezTo>
                    <a:cubicBezTo>
                      <a:pt x="8" y="247"/>
                      <a:pt x="8" y="247"/>
                      <a:pt x="8" y="247"/>
                    </a:cubicBezTo>
                    <a:cubicBezTo>
                      <a:pt x="17" y="247"/>
                      <a:pt x="17" y="247"/>
                      <a:pt x="17" y="247"/>
                    </a:cubicBezTo>
                    <a:cubicBezTo>
                      <a:pt x="22" y="247"/>
                      <a:pt x="22" y="247"/>
                      <a:pt x="22" y="247"/>
                    </a:cubicBezTo>
                    <a:cubicBezTo>
                      <a:pt x="22" y="247"/>
                      <a:pt x="29" y="246"/>
                      <a:pt x="33" y="250"/>
                    </a:cubicBezTo>
                    <a:cubicBezTo>
                      <a:pt x="41" y="255"/>
                      <a:pt x="41" y="255"/>
                      <a:pt x="41" y="255"/>
                    </a:cubicBezTo>
                    <a:cubicBezTo>
                      <a:pt x="41" y="255"/>
                      <a:pt x="41" y="255"/>
                      <a:pt x="41" y="263"/>
                    </a:cubicBezTo>
                    <a:cubicBezTo>
                      <a:pt x="52" y="266"/>
                      <a:pt x="52" y="266"/>
                      <a:pt x="52" y="266"/>
                    </a:cubicBezTo>
                    <a:cubicBezTo>
                      <a:pt x="62" y="257"/>
                      <a:pt x="62" y="257"/>
                      <a:pt x="62" y="257"/>
                    </a:cubicBezTo>
                    <a:cubicBezTo>
                      <a:pt x="69" y="261"/>
                      <a:pt x="69" y="261"/>
                      <a:pt x="69" y="261"/>
                    </a:cubicBezTo>
                    <a:cubicBezTo>
                      <a:pt x="69" y="261"/>
                      <a:pt x="74" y="266"/>
                      <a:pt x="81" y="266"/>
                    </a:cubicBezTo>
                    <a:cubicBezTo>
                      <a:pt x="87" y="266"/>
                      <a:pt x="85" y="266"/>
                      <a:pt x="90" y="266"/>
                    </a:cubicBezTo>
                    <a:cubicBezTo>
                      <a:pt x="95" y="266"/>
                      <a:pt x="99" y="266"/>
                      <a:pt x="103" y="266"/>
                    </a:cubicBezTo>
                    <a:cubicBezTo>
                      <a:pt x="106" y="266"/>
                      <a:pt x="107" y="266"/>
                      <a:pt x="114" y="259"/>
                    </a:cubicBezTo>
                    <a:cubicBezTo>
                      <a:pt x="121" y="252"/>
                      <a:pt x="117" y="253"/>
                      <a:pt x="117" y="253"/>
                    </a:cubicBezTo>
                    <a:cubicBezTo>
                      <a:pt x="129" y="249"/>
                      <a:pt x="129" y="249"/>
                      <a:pt x="129" y="249"/>
                    </a:cubicBezTo>
                    <a:cubicBezTo>
                      <a:pt x="141" y="249"/>
                      <a:pt x="141" y="249"/>
                      <a:pt x="141" y="249"/>
                    </a:cubicBezTo>
                    <a:cubicBezTo>
                      <a:pt x="137" y="245"/>
                      <a:pt x="137" y="245"/>
                      <a:pt x="137" y="245"/>
                    </a:cubicBezTo>
                    <a:cubicBezTo>
                      <a:pt x="133" y="241"/>
                      <a:pt x="133" y="241"/>
                      <a:pt x="133" y="241"/>
                    </a:cubicBezTo>
                    <a:cubicBezTo>
                      <a:pt x="128" y="237"/>
                      <a:pt x="128" y="237"/>
                      <a:pt x="128" y="237"/>
                    </a:cubicBezTo>
                    <a:cubicBezTo>
                      <a:pt x="125" y="232"/>
                      <a:pt x="125" y="232"/>
                      <a:pt x="125" y="232"/>
                    </a:cubicBezTo>
                    <a:cubicBezTo>
                      <a:pt x="118" y="235"/>
                      <a:pt x="118" y="235"/>
                      <a:pt x="118" y="235"/>
                    </a:cubicBezTo>
                    <a:cubicBezTo>
                      <a:pt x="118" y="227"/>
                      <a:pt x="118" y="227"/>
                      <a:pt x="118" y="227"/>
                    </a:cubicBezTo>
                    <a:cubicBezTo>
                      <a:pt x="125" y="224"/>
                      <a:pt x="125" y="224"/>
                      <a:pt x="125" y="224"/>
                    </a:cubicBezTo>
                    <a:cubicBezTo>
                      <a:pt x="125" y="216"/>
                      <a:pt x="125" y="216"/>
                      <a:pt x="125" y="216"/>
                    </a:cubicBezTo>
                    <a:cubicBezTo>
                      <a:pt x="116" y="210"/>
                      <a:pt x="116" y="210"/>
                      <a:pt x="116" y="210"/>
                    </a:cubicBezTo>
                    <a:cubicBezTo>
                      <a:pt x="102" y="202"/>
                      <a:pt x="102" y="202"/>
                      <a:pt x="102" y="202"/>
                    </a:cubicBezTo>
                    <a:cubicBezTo>
                      <a:pt x="106" y="197"/>
                      <a:pt x="106" y="197"/>
                      <a:pt x="106" y="197"/>
                    </a:cubicBezTo>
                    <a:cubicBezTo>
                      <a:pt x="116" y="187"/>
                      <a:pt x="116" y="187"/>
                      <a:pt x="116" y="187"/>
                    </a:cubicBezTo>
                    <a:cubicBezTo>
                      <a:pt x="116" y="187"/>
                      <a:pt x="121" y="187"/>
                      <a:pt x="125" y="187"/>
                    </a:cubicBezTo>
                    <a:cubicBezTo>
                      <a:pt x="128" y="187"/>
                      <a:pt x="128" y="180"/>
                      <a:pt x="128" y="180"/>
                    </a:cubicBezTo>
                    <a:cubicBezTo>
                      <a:pt x="140" y="168"/>
                      <a:pt x="140" y="168"/>
                      <a:pt x="140" y="168"/>
                    </a:cubicBezTo>
                    <a:cubicBezTo>
                      <a:pt x="134" y="168"/>
                      <a:pt x="134" y="168"/>
                      <a:pt x="134" y="168"/>
                    </a:cubicBezTo>
                    <a:cubicBezTo>
                      <a:pt x="129" y="168"/>
                      <a:pt x="129" y="168"/>
                      <a:pt x="129" y="168"/>
                    </a:cubicBezTo>
                    <a:cubicBezTo>
                      <a:pt x="125" y="168"/>
                      <a:pt x="125" y="168"/>
                      <a:pt x="125" y="168"/>
                    </a:cubicBezTo>
                    <a:cubicBezTo>
                      <a:pt x="121" y="156"/>
                      <a:pt x="121" y="156"/>
                      <a:pt x="121" y="156"/>
                    </a:cubicBezTo>
                    <a:cubicBezTo>
                      <a:pt x="125" y="149"/>
                      <a:pt x="125" y="149"/>
                      <a:pt x="125" y="149"/>
                    </a:cubicBezTo>
                    <a:cubicBezTo>
                      <a:pt x="129" y="138"/>
                      <a:pt x="129" y="138"/>
                      <a:pt x="129" y="138"/>
                    </a:cubicBezTo>
                    <a:cubicBezTo>
                      <a:pt x="140" y="137"/>
                      <a:pt x="140" y="137"/>
                      <a:pt x="140" y="137"/>
                    </a:cubicBezTo>
                    <a:cubicBezTo>
                      <a:pt x="145" y="141"/>
                      <a:pt x="145" y="141"/>
                      <a:pt x="145" y="141"/>
                    </a:cubicBezTo>
                    <a:cubicBezTo>
                      <a:pt x="145" y="141"/>
                      <a:pt x="145" y="141"/>
                      <a:pt x="145" y="149"/>
                    </a:cubicBezTo>
                    <a:cubicBezTo>
                      <a:pt x="148" y="146"/>
                      <a:pt x="148" y="146"/>
                      <a:pt x="148" y="146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48" y="129"/>
                      <a:pt x="148" y="129"/>
                      <a:pt x="148" y="129"/>
                    </a:cubicBezTo>
                    <a:cubicBezTo>
                      <a:pt x="155" y="125"/>
                      <a:pt x="155" y="125"/>
                      <a:pt x="155" y="125"/>
                    </a:cubicBezTo>
                    <a:cubicBezTo>
                      <a:pt x="148" y="121"/>
                      <a:pt x="148" y="121"/>
                      <a:pt x="148" y="121"/>
                    </a:cubicBezTo>
                    <a:cubicBezTo>
                      <a:pt x="148" y="117"/>
                      <a:pt x="148" y="117"/>
                      <a:pt x="148" y="117"/>
                    </a:cubicBezTo>
                    <a:cubicBezTo>
                      <a:pt x="148" y="113"/>
                      <a:pt x="148" y="113"/>
                      <a:pt x="148" y="113"/>
                    </a:cubicBezTo>
                    <a:cubicBezTo>
                      <a:pt x="156" y="109"/>
                      <a:pt x="156" y="109"/>
                      <a:pt x="156" y="109"/>
                    </a:cubicBezTo>
                    <a:cubicBezTo>
                      <a:pt x="156" y="109"/>
                      <a:pt x="161" y="109"/>
                      <a:pt x="168" y="109"/>
                    </a:cubicBezTo>
                    <a:cubicBezTo>
                      <a:pt x="174" y="109"/>
                      <a:pt x="175" y="109"/>
                      <a:pt x="175" y="109"/>
                    </a:cubicBezTo>
                    <a:cubicBezTo>
                      <a:pt x="186" y="109"/>
                      <a:pt x="186" y="109"/>
                      <a:pt x="186" y="109"/>
                    </a:cubicBezTo>
                    <a:cubicBezTo>
                      <a:pt x="190" y="105"/>
                      <a:pt x="190" y="105"/>
                      <a:pt x="190" y="105"/>
                    </a:cubicBezTo>
                    <a:cubicBezTo>
                      <a:pt x="197" y="105"/>
                      <a:pt x="197" y="105"/>
                      <a:pt x="197" y="105"/>
                    </a:cubicBezTo>
                    <a:cubicBezTo>
                      <a:pt x="202" y="105"/>
                      <a:pt x="202" y="105"/>
                      <a:pt x="202" y="105"/>
                    </a:cubicBezTo>
                    <a:cubicBezTo>
                      <a:pt x="202" y="105"/>
                      <a:pt x="209" y="107"/>
                      <a:pt x="213" y="107"/>
                    </a:cubicBezTo>
                    <a:cubicBezTo>
                      <a:pt x="216" y="107"/>
                      <a:pt x="213" y="107"/>
                      <a:pt x="213" y="114"/>
                    </a:cubicBezTo>
                    <a:cubicBezTo>
                      <a:pt x="213" y="114"/>
                      <a:pt x="216" y="114"/>
                      <a:pt x="223" y="114"/>
                    </a:cubicBezTo>
                    <a:cubicBezTo>
                      <a:pt x="229" y="114"/>
                      <a:pt x="228" y="119"/>
                      <a:pt x="228" y="119"/>
                    </a:cubicBezTo>
                    <a:cubicBezTo>
                      <a:pt x="232" y="125"/>
                      <a:pt x="232" y="125"/>
                      <a:pt x="232" y="125"/>
                    </a:cubicBezTo>
                    <a:cubicBezTo>
                      <a:pt x="237" y="125"/>
                      <a:pt x="237" y="125"/>
                      <a:pt x="237" y="125"/>
                    </a:cubicBezTo>
                    <a:cubicBezTo>
                      <a:pt x="245" y="125"/>
                      <a:pt x="245" y="125"/>
                      <a:pt x="245" y="125"/>
                    </a:cubicBezTo>
                    <a:cubicBezTo>
                      <a:pt x="258" y="112"/>
                      <a:pt x="258" y="112"/>
                      <a:pt x="258" y="112"/>
                    </a:cubicBezTo>
                    <a:cubicBezTo>
                      <a:pt x="262" y="108"/>
                      <a:pt x="262" y="108"/>
                      <a:pt x="262" y="108"/>
                    </a:cubicBezTo>
                    <a:cubicBezTo>
                      <a:pt x="265" y="111"/>
                      <a:pt x="265" y="111"/>
                      <a:pt x="265" y="111"/>
                    </a:cubicBezTo>
                    <a:cubicBezTo>
                      <a:pt x="271" y="105"/>
                      <a:pt x="271" y="105"/>
                      <a:pt x="271" y="105"/>
                    </a:cubicBezTo>
                    <a:cubicBezTo>
                      <a:pt x="265" y="102"/>
                      <a:pt x="265" y="102"/>
                      <a:pt x="265" y="102"/>
                    </a:cubicBezTo>
                    <a:cubicBezTo>
                      <a:pt x="258" y="95"/>
                      <a:pt x="258" y="95"/>
                      <a:pt x="258" y="95"/>
                    </a:cubicBezTo>
                    <a:cubicBezTo>
                      <a:pt x="251" y="95"/>
                      <a:pt x="251" y="95"/>
                      <a:pt x="251" y="95"/>
                    </a:cubicBezTo>
                    <a:cubicBezTo>
                      <a:pt x="251" y="91"/>
                      <a:pt x="251" y="91"/>
                      <a:pt x="251" y="91"/>
                    </a:cubicBezTo>
                    <a:cubicBezTo>
                      <a:pt x="245" y="85"/>
                      <a:pt x="245" y="85"/>
                      <a:pt x="245" y="85"/>
                    </a:cubicBezTo>
                    <a:cubicBezTo>
                      <a:pt x="236" y="76"/>
                      <a:pt x="236" y="76"/>
                      <a:pt x="236" y="76"/>
                    </a:cubicBezTo>
                    <a:cubicBezTo>
                      <a:pt x="236" y="66"/>
                      <a:pt x="236" y="66"/>
                      <a:pt x="236" y="66"/>
                    </a:cubicBezTo>
                    <a:cubicBezTo>
                      <a:pt x="236" y="61"/>
                      <a:pt x="236" y="61"/>
                      <a:pt x="236" y="61"/>
                    </a:cubicBezTo>
                    <a:cubicBezTo>
                      <a:pt x="243" y="54"/>
                      <a:pt x="243" y="54"/>
                      <a:pt x="243" y="54"/>
                    </a:cubicBezTo>
                    <a:cubicBezTo>
                      <a:pt x="250" y="54"/>
                      <a:pt x="250" y="54"/>
                      <a:pt x="250" y="54"/>
                    </a:cubicBezTo>
                    <a:cubicBezTo>
                      <a:pt x="255" y="50"/>
                      <a:pt x="255" y="50"/>
                      <a:pt x="255" y="50"/>
                    </a:cubicBezTo>
                    <a:cubicBezTo>
                      <a:pt x="256" y="41"/>
                      <a:pt x="256" y="41"/>
                      <a:pt x="256" y="41"/>
                    </a:cubicBezTo>
                    <a:cubicBezTo>
                      <a:pt x="259" y="32"/>
                      <a:pt x="259" y="32"/>
                      <a:pt x="259" y="32"/>
                    </a:cubicBezTo>
                    <a:cubicBezTo>
                      <a:pt x="259" y="32"/>
                      <a:pt x="266" y="36"/>
                      <a:pt x="271" y="36"/>
                    </a:cubicBezTo>
                    <a:cubicBezTo>
                      <a:pt x="276" y="36"/>
                      <a:pt x="277" y="37"/>
                      <a:pt x="277" y="42"/>
                    </a:cubicBezTo>
                    <a:cubicBezTo>
                      <a:pt x="277" y="47"/>
                      <a:pt x="284" y="45"/>
                      <a:pt x="284" y="45"/>
                    </a:cubicBezTo>
                    <a:cubicBezTo>
                      <a:pt x="284" y="45"/>
                      <a:pt x="284" y="45"/>
                      <a:pt x="290" y="45"/>
                    </a:cubicBezTo>
                    <a:cubicBezTo>
                      <a:pt x="296" y="45"/>
                      <a:pt x="298" y="49"/>
                      <a:pt x="298" y="55"/>
                    </a:cubicBezTo>
                    <a:cubicBezTo>
                      <a:pt x="298" y="62"/>
                      <a:pt x="291" y="55"/>
                      <a:pt x="287" y="55"/>
                    </a:cubicBezTo>
                    <a:cubicBezTo>
                      <a:pt x="283" y="55"/>
                      <a:pt x="287" y="61"/>
                      <a:pt x="287" y="61"/>
                    </a:cubicBezTo>
                    <a:cubicBezTo>
                      <a:pt x="287" y="68"/>
                      <a:pt x="287" y="68"/>
                      <a:pt x="287" y="68"/>
                    </a:cubicBezTo>
                    <a:cubicBezTo>
                      <a:pt x="287" y="68"/>
                      <a:pt x="290" y="73"/>
                      <a:pt x="294" y="73"/>
                    </a:cubicBezTo>
                    <a:cubicBezTo>
                      <a:pt x="298" y="73"/>
                      <a:pt x="294" y="76"/>
                      <a:pt x="297" y="79"/>
                    </a:cubicBezTo>
                    <a:cubicBezTo>
                      <a:pt x="300" y="82"/>
                      <a:pt x="301" y="80"/>
                      <a:pt x="301" y="80"/>
                    </a:cubicBezTo>
                    <a:cubicBezTo>
                      <a:pt x="301" y="80"/>
                      <a:pt x="305" y="80"/>
                      <a:pt x="312" y="80"/>
                    </a:cubicBezTo>
                    <a:cubicBezTo>
                      <a:pt x="312" y="74"/>
                      <a:pt x="312" y="74"/>
                      <a:pt x="312" y="74"/>
                    </a:cubicBezTo>
                    <a:cubicBezTo>
                      <a:pt x="312" y="74"/>
                      <a:pt x="309" y="71"/>
                      <a:pt x="306" y="68"/>
                    </a:cubicBezTo>
                    <a:cubicBezTo>
                      <a:pt x="303" y="65"/>
                      <a:pt x="306" y="62"/>
                      <a:pt x="306" y="62"/>
                    </a:cubicBezTo>
                    <a:cubicBezTo>
                      <a:pt x="306" y="62"/>
                      <a:pt x="312" y="62"/>
                      <a:pt x="317" y="62"/>
                    </a:cubicBezTo>
                    <a:cubicBezTo>
                      <a:pt x="322" y="62"/>
                      <a:pt x="317" y="55"/>
                      <a:pt x="317" y="55"/>
                    </a:cubicBezTo>
                    <a:cubicBezTo>
                      <a:pt x="311" y="49"/>
                      <a:pt x="311" y="49"/>
                      <a:pt x="311" y="49"/>
                    </a:cubicBezTo>
                    <a:cubicBezTo>
                      <a:pt x="315" y="42"/>
                      <a:pt x="315" y="42"/>
                      <a:pt x="315" y="42"/>
                    </a:cubicBezTo>
                    <a:cubicBezTo>
                      <a:pt x="321" y="37"/>
                      <a:pt x="321" y="37"/>
                      <a:pt x="321" y="37"/>
                    </a:cubicBezTo>
                    <a:cubicBezTo>
                      <a:pt x="321" y="30"/>
                      <a:pt x="321" y="30"/>
                      <a:pt x="321" y="30"/>
                    </a:cubicBezTo>
                    <a:cubicBezTo>
                      <a:pt x="329" y="22"/>
                      <a:pt x="329" y="22"/>
                      <a:pt x="329" y="22"/>
                    </a:cubicBezTo>
                    <a:cubicBezTo>
                      <a:pt x="331" y="12"/>
                      <a:pt x="331" y="12"/>
                      <a:pt x="331" y="12"/>
                    </a:cubicBezTo>
                    <a:cubicBezTo>
                      <a:pt x="330" y="2"/>
                      <a:pt x="330" y="2"/>
                      <a:pt x="330" y="2"/>
                    </a:cubicBezTo>
                    <a:cubicBezTo>
                      <a:pt x="330" y="2"/>
                      <a:pt x="334" y="0"/>
                      <a:pt x="339" y="0"/>
                    </a:cubicBezTo>
                    <a:cubicBezTo>
                      <a:pt x="344" y="0"/>
                      <a:pt x="345" y="0"/>
                      <a:pt x="345" y="0"/>
                    </a:cubicBezTo>
                    <a:cubicBezTo>
                      <a:pt x="350" y="6"/>
                      <a:pt x="350" y="6"/>
                      <a:pt x="350" y="6"/>
                    </a:cubicBezTo>
                    <a:cubicBezTo>
                      <a:pt x="350" y="6"/>
                      <a:pt x="350" y="6"/>
                      <a:pt x="354" y="9"/>
                    </a:cubicBezTo>
                    <a:cubicBezTo>
                      <a:pt x="358" y="13"/>
                      <a:pt x="354" y="9"/>
                      <a:pt x="359" y="14"/>
                    </a:cubicBezTo>
                    <a:cubicBezTo>
                      <a:pt x="364" y="19"/>
                      <a:pt x="371" y="9"/>
                      <a:pt x="371" y="9"/>
                    </a:cubicBezTo>
                    <a:cubicBezTo>
                      <a:pt x="385" y="9"/>
                      <a:pt x="385" y="9"/>
                      <a:pt x="385" y="9"/>
                    </a:cubicBezTo>
                    <a:cubicBezTo>
                      <a:pt x="385" y="9"/>
                      <a:pt x="393" y="9"/>
                      <a:pt x="397" y="9"/>
                    </a:cubicBezTo>
                    <a:cubicBezTo>
                      <a:pt x="401" y="9"/>
                      <a:pt x="409" y="10"/>
                      <a:pt x="409" y="10"/>
                    </a:cubicBezTo>
                    <a:cubicBezTo>
                      <a:pt x="419" y="10"/>
                      <a:pt x="419" y="10"/>
                      <a:pt x="419" y="10"/>
                    </a:cubicBezTo>
                    <a:cubicBezTo>
                      <a:pt x="424" y="4"/>
                      <a:pt x="424" y="4"/>
                      <a:pt x="424" y="4"/>
                    </a:cubicBezTo>
                    <a:cubicBezTo>
                      <a:pt x="428" y="4"/>
                      <a:pt x="433" y="8"/>
                      <a:pt x="433" y="8"/>
                    </a:cubicBezTo>
                    <a:cubicBezTo>
                      <a:pt x="429" y="12"/>
                      <a:pt x="429" y="12"/>
                      <a:pt x="429" y="12"/>
                    </a:cubicBezTo>
                    <a:cubicBezTo>
                      <a:pt x="429" y="17"/>
                      <a:pt x="429" y="17"/>
                      <a:pt x="429" y="17"/>
                    </a:cubicBezTo>
                    <a:cubicBezTo>
                      <a:pt x="435" y="20"/>
                      <a:pt x="435" y="20"/>
                      <a:pt x="435" y="20"/>
                    </a:cubicBezTo>
                    <a:cubicBezTo>
                      <a:pt x="435" y="20"/>
                      <a:pt x="439" y="23"/>
                      <a:pt x="435" y="27"/>
                    </a:cubicBezTo>
                    <a:cubicBezTo>
                      <a:pt x="431" y="30"/>
                      <a:pt x="439" y="30"/>
                      <a:pt x="439" y="30"/>
                    </a:cubicBezTo>
                    <a:cubicBezTo>
                      <a:pt x="439" y="30"/>
                      <a:pt x="439" y="30"/>
                      <a:pt x="442" y="33"/>
                    </a:cubicBezTo>
                    <a:cubicBezTo>
                      <a:pt x="444" y="36"/>
                      <a:pt x="444" y="35"/>
                      <a:pt x="447" y="35"/>
                    </a:cubicBezTo>
                    <a:cubicBezTo>
                      <a:pt x="451" y="35"/>
                      <a:pt x="450" y="35"/>
                      <a:pt x="450" y="39"/>
                    </a:cubicBezTo>
                    <a:cubicBezTo>
                      <a:pt x="450" y="42"/>
                      <a:pt x="450" y="39"/>
                      <a:pt x="450" y="47"/>
                    </a:cubicBezTo>
                    <a:cubicBezTo>
                      <a:pt x="450" y="55"/>
                      <a:pt x="446" y="52"/>
                      <a:pt x="446" y="52"/>
                    </a:cubicBezTo>
                    <a:cubicBezTo>
                      <a:pt x="450" y="56"/>
                      <a:pt x="450" y="56"/>
                      <a:pt x="450" y="56"/>
                    </a:cubicBezTo>
                    <a:cubicBezTo>
                      <a:pt x="453" y="62"/>
                      <a:pt x="453" y="62"/>
                      <a:pt x="453" y="62"/>
                    </a:cubicBezTo>
                    <a:cubicBezTo>
                      <a:pt x="453" y="62"/>
                      <a:pt x="455" y="65"/>
                      <a:pt x="457" y="67"/>
                    </a:cubicBezTo>
                    <a:cubicBezTo>
                      <a:pt x="459" y="69"/>
                      <a:pt x="465" y="70"/>
                      <a:pt x="465" y="70"/>
                    </a:cubicBezTo>
                    <a:cubicBezTo>
                      <a:pt x="465" y="70"/>
                      <a:pt x="469" y="73"/>
                      <a:pt x="469" y="77"/>
                    </a:cubicBezTo>
                    <a:cubicBezTo>
                      <a:pt x="469" y="81"/>
                      <a:pt x="469" y="82"/>
                      <a:pt x="469" y="82"/>
                    </a:cubicBezTo>
                    <a:cubicBezTo>
                      <a:pt x="474" y="91"/>
                      <a:pt x="474" y="91"/>
                      <a:pt x="474" y="91"/>
                    </a:cubicBezTo>
                    <a:cubicBezTo>
                      <a:pt x="474" y="91"/>
                      <a:pt x="476" y="93"/>
                      <a:pt x="479" y="96"/>
                    </a:cubicBezTo>
                    <a:cubicBezTo>
                      <a:pt x="482" y="99"/>
                      <a:pt x="482" y="101"/>
                      <a:pt x="482" y="101"/>
                    </a:cubicBezTo>
                    <a:cubicBezTo>
                      <a:pt x="482" y="101"/>
                      <a:pt x="485" y="103"/>
                      <a:pt x="482" y="106"/>
                    </a:cubicBezTo>
                    <a:cubicBezTo>
                      <a:pt x="479" y="108"/>
                      <a:pt x="485" y="108"/>
                      <a:pt x="488" y="112"/>
                    </a:cubicBezTo>
                    <a:cubicBezTo>
                      <a:pt x="491" y="115"/>
                      <a:pt x="492" y="116"/>
                      <a:pt x="492" y="116"/>
                    </a:cubicBezTo>
                    <a:cubicBezTo>
                      <a:pt x="492" y="116"/>
                      <a:pt x="496" y="116"/>
                      <a:pt x="504" y="123"/>
                    </a:cubicBezTo>
                    <a:cubicBezTo>
                      <a:pt x="511" y="131"/>
                      <a:pt x="508" y="128"/>
                      <a:pt x="508" y="128"/>
                    </a:cubicBezTo>
                    <a:cubicBezTo>
                      <a:pt x="508" y="135"/>
                      <a:pt x="508" y="135"/>
                      <a:pt x="508" y="135"/>
                    </a:cubicBezTo>
                    <a:cubicBezTo>
                      <a:pt x="515" y="141"/>
                      <a:pt x="515" y="141"/>
                      <a:pt x="515" y="141"/>
                    </a:cubicBezTo>
                    <a:cubicBezTo>
                      <a:pt x="320" y="365"/>
                      <a:pt x="320" y="365"/>
                      <a:pt x="320" y="365"/>
                    </a:cubicBezTo>
                    <a:cubicBezTo>
                      <a:pt x="324" y="370"/>
                      <a:pt x="324" y="370"/>
                      <a:pt x="324" y="370"/>
                    </a:cubicBezTo>
                    <a:cubicBezTo>
                      <a:pt x="324" y="375"/>
                      <a:pt x="324" y="375"/>
                      <a:pt x="324" y="375"/>
                    </a:cubicBezTo>
                    <a:cubicBezTo>
                      <a:pt x="329" y="375"/>
                      <a:pt x="329" y="375"/>
                      <a:pt x="329" y="375"/>
                    </a:cubicBezTo>
                    <a:cubicBezTo>
                      <a:pt x="329" y="375"/>
                      <a:pt x="333" y="375"/>
                      <a:pt x="338" y="375"/>
                    </a:cubicBezTo>
                    <a:cubicBezTo>
                      <a:pt x="343" y="375"/>
                      <a:pt x="338" y="379"/>
                      <a:pt x="338" y="379"/>
                    </a:cubicBezTo>
                    <a:cubicBezTo>
                      <a:pt x="338" y="389"/>
                      <a:pt x="338" y="389"/>
                      <a:pt x="338" y="389"/>
                    </a:cubicBezTo>
                    <a:cubicBezTo>
                      <a:pt x="338" y="389"/>
                      <a:pt x="337" y="398"/>
                      <a:pt x="339" y="399"/>
                    </a:cubicBezTo>
                    <a:cubicBezTo>
                      <a:pt x="340" y="401"/>
                      <a:pt x="339" y="403"/>
                      <a:pt x="339" y="407"/>
                    </a:cubicBezTo>
                    <a:cubicBezTo>
                      <a:pt x="339" y="410"/>
                      <a:pt x="339" y="413"/>
                      <a:pt x="339" y="417"/>
                    </a:cubicBezTo>
                    <a:cubicBezTo>
                      <a:pt x="339" y="420"/>
                      <a:pt x="337" y="420"/>
                      <a:pt x="337" y="423"/>
                    </a:cubicBezTo>
                    <a:cubicBezTo>
                      <a:pt x="337" y="426"/>
                      <a:pt x="337" y="428"/>
                      <a:pt x="337" y="428"/>
                    </a:cubicBezTo>
                    <a:cubicBezTo>
                      <a:pt x="342" y="428"/>
                      <a:pt x="342" y="428"/>
                      <a:pt x="342" y="428"/>
                    </a:cubicBezTo>
                    <a:cubicBezTo>
                      <a:pt x="342" y="428"/>
                      <a:pt x="344" y="428"/>
                      <a:pt x="347" y="428"/>
                    </a:cubicBezTo>
                    <a:cubicBezTo>
                      <a:pt x="350" y="428"/>
                      <a:pt x="355" y="428"/>
                      <a:pt x="355" y="428"/>
                    </a:cubicBezTo>
                    <a:cubicBezTo>
                      <a:pt x="358" y="425"/>
                      <a:pt x="358" y="425"/>
                      <a:pt x="358" y="425"/>
                    </a:cubicBezTo>
                    <a:cubicBezTo>
                      <a:pt x="364" y="425"/>
                      <a:pt x="364" y="425"/>
                      <a:pt x="364" y="425"/>
                    </a:cubicBezTo>
                    <a:cubicBezTo>
                      <a:pt x="369" y="424"/>
                      <a:pt x="369" y="424"/>
                      <a:pt x="369" y="424"/>
                    </a:cubicBezTo>
                    <a:cubicBezTo>
                      <a:pt x="374" y="425"/>
                      <a:pt x="374" y="425"/>
                      <a:pt x="374" y="425"/>
                    </a:cubicBezTo>
                    <a:cubicBezTo>
                      <a:pt x="379" y="425"/>
                      <a:pt x="379" y="425"/>
                      <a:pt x="379" y="425"/>
                    </a:cubicBezTo>
                    <a:cubicBezTo>
                      <a:pt x="379" y="425"/>
                      <a:pt x="379" y="432"/>
                      <a:pt x="379" y="434"/>
                    </a:cubicBezTo>
                    <a:cubicBezTo>
                      <a:pt x="379" y="436"/>
                      <a:pt x="379" y="440"/>
                      <a:pt x="381" y="442"/>
                    </a:cubicBezTo>
                    <a:cubicBezTo>
                      <a:pt x="382" y="443"/>
                      <a:pt x="381" y="450"/>
                      <a:pt x="381" y="450"/>
                    </a:cubicBezTo>
                    <a:cubicBezTo>
                      <a:pt x="381" y="450"/>
                      <a:pt x="381" y="452"/>
                      <a:pt x="381" y="454"/>
                    </a:cubicBezTo>
                    <a:cubicBezTo>
                      <a:pt x="381" y="456"/>
                      <a:pt x="382" y="460"/>
                      <a:pt x="382" y="460"/>
                    </a:cubicBezTo>
                    <a:cubicBezTo>
                      <a:pt x="382" y="460"/>
                      <a:pt x="383" y="466"/>
                      <a:pt x="383" y="469"/>
                    </a:cubicBezTo>
                    <a:cubicBezTo>
                      <a:pt x="383" y="472"/>
                      <a:pt x="383" y="473"/>
                      <a:pt x="383" y="475"/>
                    </a:cubicBezTo>
                    <a:cubicBezTo>
                      <a:pt x="383" y="477"/>
                      <a:pt x="383" y="480"/>
                      <a:pt x="383" y="482"/>
                    </a:cubicBezTo>
                    <a:cubicBezTo>
                      <a:pt x="383" y="484"/>
                      <a:pt x="382" y="490"/>
                      <a:pt x="381" y="491"/>
                    </a:cubicBezTo>
                    <a:cubicBezTo>
                      <a:pt x="379" y="493"/>
                      <a:pt x="380" y="496"/>
                      <a:pt x="380" y="499"/>
                    </a:cubicBezTo>
                    <a:cubicBezTo>
                      <a:pt x="380" y="501"/>
                      <a:pt x="380" y="508"/>
                      <a:pt x="380" y="511"/>
                    </a:cubicBezTo>
                    <a:cubicBezTo>
                      <a:pt x="380" y="514"/>
                      <a:pt x="377" y="528"/>
                      <a:pt x="377" y="528"/>
                    </a:cubicBezTo>
                    <a:cubicBezTo>
                      <a:pt x="377" y="528"/>
                      <a:pt x="375" y="535"/>
                      <a:pt x="375" y="538"/>
                    </a:cubicBezTo>
                    <a:cubicBezTo>
                      <a:pt x="375" y="540"/>
                      <a:pt x="379" y="541"/>
                      <a:pt x="380" y="543"/>
                    </a:cubicBezTo>
                    <a:cubicBezTo>
                      <a:pt x="382" y="544"/>
                      <a:pt x="385" y="550"/>
                      <a:pt x="385" y="550"/>
                    </a:cubicBezTo>
                    <a:cubicBezTo>
                      <a:pt x="391" y="563"/>
                      <a:pt x="391" y="563"/>
                      <a:pt x="391" y="563"/>
                    </a:cubicBezTo>
                    <a:cubicBezTo>
                      <a:pt x="395" y="571"/>
                      <a:pt x="395" y="571"/>
                      <a:pt x="395" y="571"/>
                    </a:cubicBezTo>
                    <a:cubicBezTo>
                      <a:pt x="395" y="571"/>
                      <a:pt x="392" y="572"/>
                      <a:pt x="389" y="572"/>
                    </a:cubicBezTo>
                    <a:cubicBezTo>
                      <a:pt x="387" y="572"/>
                      <a:pt x="385" y="576"/>
                      <a:pt x="385" y="576"/>
                    </a:cubicBezTo>
                    <a:cubicBezTo>
                      <a:pt x="385" y="576"/>
                      <a:pt x="385" y="579"/>
                      <a:pt x="385" y="581"/>
                    </a:cubicBezTo>
                    <a:cubicBezTo>
                      <a:pt x="385" y="583"/>
                      <a:pt x="384" y="587"/>
                      <a:pt x="384" y="587"/>
                    </a:cubicBezTo>
                    <a:cubicBezTo>
                      <a:pt x="380" y="591"/>
                      <a:pt x="380" y="591"/>
                      <a:pt x="380" y="591"/>
                    </a:cubicBezTo>
                    <a:cubicBezTo>
                      <a:pt x="375" y="596"/>
                      <a:pt x="375" y="596"/>
                      <a:pt x="375" y="596"/>
                    </a:cubicBezTo>
                    <a:cubicBezTo>
                      <a:pt x="375" y="596"/>
                      <a:pt x="374" y="598"/>
                      <a:pt x="371" y="600"/>
                    </a:cubicBezTo>
                    <a:cubicBezTo>
                      <a:pt x="369" y="602"/>
                      <a:pt x="370" y="602"/>
                      <a:pt x="367" y="602"/>
                    </a:cubicBezTo>
                    <a:cubicBezTo>
                      <a:pt x="367" y="602"/>
                      <a:pt x="366" y="600"/>
                      <a:pt x="366" y="600"/>
                    </a:cubicBezTo>
                    <a:cubicBezTo>
                      <a:pt x="365" y="599"/>
                      <a:pt x="365" y="598"/>
                      <a:pt x="365" y="598"/>
                    </a:cubicBezTo>
                    <a:cubicBezTo>
                      <a:pt x="365" y="598"/>
                      <a:pt x="363" y="597"/>
                      <a:pt x="364" y="596"/>
                    </a:cubicBezTo>
                    <a:cubicBezTo>
                      <a:pt x="365" y="595"/>
                      <a:pt x="367" y="595"/>
                      <a:pt x="368" y="594"/>
                    </a:cubicBezTo>
                    <a:cubicBezTo>
                      <a:pt x="368" y="593"/>
                      <a:pt x="369" y="594"/>
                      <a:pt x="370" y="593"/>
                    </a:cubicBezTo>
                    <a:cubicBezTo>
                      <a:pt x="371" y="592"/>
                      <a:pt x="371" y="591"/>
                      <a:pt x="371" y="589"/>
                    </a:cubicBezTo>
                    <a:cubicBezTo>
                      <a:pt x="371" y="588"/>
                      <a:pt x="371" y="587"/>
                      <a:pt x="371" y="587"/>
                    </a:cubicBezTo>
                    <a:cubicBezTo>
                      <a:pt x="371" y="587"/>
                      <a:pt x="371" y="585"/>
                      <a:pt x="371" y="584"/>
                    </a:cubicBezTo>
                    <a:cubicBezTo>
                      <a:pt x="371" y="583"/>
                      <a:pt x="372" y="582"/>
                      <a:pt x="374" y="580"/>
                    </a:cubicBezTo>
                    <a:cubicBezTo>
                      <a:pt x="375" y="579"/>
                      <a:pt x="375" y="578"/>
                      <a:pt x="375" y="577"/>
                    </a:cubicBezTo>
                    <a:cubicBezTo>
                      <a:pt x="375" y="576"/>
                      <a:pt x="376" y="575"/>
                      <a:pt x="375" y="574"/>
                    </a:cubicBezTo>
                    <a:cubicBezTo>
                      <a:pt x="373" y="572"/>
                      <a:pt x="373" y="572"/>
                      <a:pt x="373" y="571"/>
                    </a:cubicBezTo>
                    <a:cubicBezTo>
                      <a:pt x="373" y="570"/>
                      <a:pt x="372" y="568"/>
                      <a:pt x="371" y="568"/>
                    </a:cubicBezTo>
                    <a:cubicBezTo>
                      <a:pt x="370" y="568"/>
                      <a:pt x="369" y="566"/>
                      <a:pt x="366" y="566"/>
                    </a:cubicBezTo>
                    <a:cubicBezTo>
                      <a:pt x="364" y="566"/>
                      <a:pt x="366" y="566"/>
                      <a:pt x="363" y="566"/>
                    </a:cubicBezTo>
                    <a:cubicBezTo>
                      <a:pt x="360" y="566"/>
                      <a:pt x="357" y="565"/>
                      <a:pt x="357" y="565"/>
                    </a:cubicBezTo>
                    <a:cubicBezTo>
                      <a:pt x="357" y="563"/>
                      <a:pt x="357" y="563"/>
                      <a:pt x="357" y="563"/>
                    </a:cubicBezTo>
                    <a:cubicBezTo>
                      <a:pt x="357" y="563"/>
                      <a:pt x="358" y="564"/>
                      <a:pt x="360" y="561"/>
                    </a:cubicBezTo>
                    <a:cubicBezTo>
                      <a:pt x="363" y="559"/>
                      <a:pt x="366" y="559"/>
                      <a:pt x="366" y="558"/>
                    </a:cubicBezTo>
                    <a:cubicBezTo>
                      <a:pt x="367" y="557"/>
                      <a:pt x="371" y="555"/>
                      <a:pt x="370" y="555"/>
                    </a:cubicBezTo>
                    <a:cubicBezTo>
                      <a:pt x="369" y="554"/>
                      <a:pt x="368" y="553"/>
                      <a:pt x="368" y="551"/>
                    </a:cubicBezTo>
                    <a:cubicBezTo>
                      <a:pt x="368" y="550"/>
                      <a:pt x="367" y="550"/>
                      <a:pt x="367" y="548"/>
                    </a:cubicBezTo>
                    <a:cubicBezTo>
                      <a:pt x="367" y="547"/>
                      <a:pt x="364" y="547"/>
                      <a:pt x="366" y="545"/>
                    </a:cubicBezTo>
                    <a:cubicBezTo>
                      <a:pt x="367" y="544"/>
                      <a:pt x="368" y="542"/>
                      <a:pt x="368" y="542"/>
                    </a:cubicBezTo>
                    <a:cubicBezTo>
                      <a:pt x="368" y="542"/>
                      <a:pt x="368" y="540"/>
                      <a:pt x="368" y="539"/>
                    </a:cubicBezTo>
                    <a:cubicBezTo>
                      <a:pt x="368" y="538"/>
                      <a:pt x="367" y="537"/>
                      <a:pt x="367" y="534"/>
                    </a:cubicBezTo>
                    <a:cubicBezTo>
                      <a:pt x="367" y="532"/>
                      <a:pt x="367" y="531"/>
                      <a:pt x="367" y="530"/>
                    </a:cubicBezTo>
                    <a:cubicBezTo>
                      <a:pt x="367" y="528"/>
                      <a:pt x="367" y="525"/>
                      <a:pt x="367" y="525"/>
                    </a:cubicBezTo>
                    <a:cubicBezTo>
                      <a:pt x="367" y="525"/>
                      <a:pt x="369" y="524"/>
                      <a:pt x="366" y="522"/>
                    </a:cubicBezTo>
                    <a:cubicBezTo>
                      <a:pt x="364" y="520"/>
                      <a:pt x="365" y="520"/>
                      <a:pt x="364" y="519"/>
                    </a:cubicBezTo>
                    <a:cubicBezTo>
                      <a:pt x="363" y="517"/>
                      <a:pt x="362" y="517"/>
                      <a:pt x="362" y="516"/>
                    </a:cubicBezTo>
                    <a:cubicBezTo>
                      <a:pt x="362" y="514"/>
                      <a:pt x="361" y="513"/>
                      <a:pt x="363" y="513"/>
                    </a:cubicBezTo>
                    <a:cubicBezTo>
                      <a:pt x="365" y="513"/>
                      <a:pt x="369" y="511"/>
                      <a:pt x="369" y="510"/>
                    </a:cubicBezTo>
                    <a:cubicBezTo>
                      <a:pt x="369" y="508"/>
                      <a:pt x="369" y="507"/>
                      <a:pt x="369" y="507"/>
                    </a:cubicBezTo>
                    <a:cubicBezTo>
                      <a:pt x="369" y="507"/>
                      <a:pt x="370" y="503"/>
                      <a:pt x="370" y="501"/>
                    </a:cubicBezTo>
                    <a:cubicBezTo>
                      <a:pt x="370" y="499"/>
                      <a:pt x="372" y="500"/>
                      <a:pt x="371" y="497"/>
                    </a:cubicBezTo>
                    <a:cubicBezTo>
                      <a:pt x="370" y="493"/>
                      <a:pt x="371" y="490"/>
                      <a:pt x="371" y="488"/>
                    </a:cubicBezTo>
                    <a:cubicBezTo>
                      <a:pt x="371" y="487"/>
                      <a:pt x="370" y="486"/>
                      <a:pt x="370" y="485"/>
                    </a:cubicBezTo>
                    <a:cubicBezTo>
                      <a:pt x="370" y="483"/>
                      <a:pt x="370" y="481"/>
                      <a:pt x="370" y="481"/>
                    </a:cubicBezTo>
                    <a:cubicBezTo>
                      <a:pt x="370" y="481"/>
                      <a:pt x="372" y="481"/>
                      <a:pt x="370" y="479"/>
                    </a:cubicBezTo>
                    <a:cubicBezTo>
                      <a:pt x="367" y="477"/>
                      <a:pt x="366" y="478"/>
                      <a:pt x="366" y="476"/>
                    </a:cubicBezTo>
                    <a:cubicBezTo>
                      <a:pt x="366" y="474"/>
                      <a:pt x="366" y="474"/>
                      <a:pt x="366" y="472"/>
                    </a:cubicBezTo>
                    <a:cubicBezTo>
                      <a:pt x="366" y="470"/>
                      <a:pt x="366" y="468"/>
                      <a:pt x="368" y="466"/>
                    </a:cubicBezTo>
                    <a:cubicBezTo>
                      <a:pt x="369" y="464"/>
                      <a:pt x="367" y="464"/>
                      <a:pt x="369" y="462"/>
                    </a:cubicBezTo>
                    <a:cubicBezTo>
                      <a:pt x="371" y="460"/>
                      <a:pt x="371" y="458"/>
                      <a:pt x="371" y="456"/>
                    </a:cubicBezTo>
                    <a:cubicBezTo>
                      <a:pt x="371" y="453"/>
                      <a:pt x="373" y="449"/>
                      <a:pt x="371" y="451"/>
                    </a:cubicBezTo>
                    <a:cubicBezTo>
                      <a:pt x="369" y="453"/>
                      <a:pt x="367" y="458"/>
                      <a:pt x="367" y="458"/>
                    </a:cubicBezTo>
                    <a:cubicBezTo>
                      <a:pt x="367" y="458"/>
                      <a:pt x="365" y="461"/>
                      <a:pt x="365" y="463"/>
                    </a:cubicBezTo>
                    <a:cubicBezTo>
                      <a:pt x="365" y="464"/>
                      <a:pt x="364" y="465"/>
                      <a:pt x="363" y="466"/>
                    </a:cubicBezTo>
                    <a:cubicBezTo>
                      <a:pt x="362" y="467"/>
                      <a:pt x="361" y="470"/>
                      <a:pt x="360" y="469"/>
                    </a:cubicBezTo>
                    <a:cubicBezTo>
                      <a:pt x="359" y="469"/>
                      <a:pt x="360" y="470"/>
                      <a:pt x="358" y="468"/>
                    </a:cubicBezTo>
                    <a:cubicBezTo>
                      <a:pt x="356" y="466"/>
                      <a:pt x="354" y="465"/>
                      <a:pt x="354" y="465"/>
                    </a:cubicBezTo>
                    <a:cubicBezTo>
                      <a:pt x="354" y="465"/>
                      <a:pt x="349" y="461"/>
                      <a:pt x="351" y="459"/>
                    </a:cubicBezTo>
                    <a:cubicBezTo>
                      <a:pt x="354" y="457"/>
                      <a:pt x="354" y="456"/>
                      <a:pt x="354" y="454"/>
                    </a:cubicBezTo>
                    <a:cubicBezTo>
                      <a:pt x="354" y="452"/>
                      <a:pt x="356" y="453"/>
                      <a:pt x="354" y="450"/>
                    </a:cubicBezTo>
                    <a:cubicBezTo>
                      <a:pt x="352" y="448"/>
                      <a:pt x="351" y="446"/>
                      <a:pt x="350" y="446"/>
                    </a:cubicBezTo>
                    <a:cubicBezTo>
                      <a:pt x="350" y="446"/>
                      <a:pt x="345" y="447"/>
                      <a:pt x="345" y="449"/>
                    </a:cubicBezTo>
                    <a:cubicBezTo>
                      <a:pt x="345" y="452"/>
                      <a:pt x="345" y="460"/>
                      <a:pt x="345" y="460"/>
                    </a:cubicBezTo>
                    <a:cubicBezTo>
                      <a:pt x="345" y="460"/>
                      <a:pt x="347" y="460"/>
                      <a:pt x="343" y="460"/>
                    </a:cubicBezTo>
                    <a:cubicBezTo>
                      <a:pt x="339" y="460"/>
                      <a:pt x="337" y="458"/>
                      <a:pt x="337" y="458"/>
                    </a:cubicBezTo>
                    <a:cubicBezTo>
                      <a:pt x="337" y="458"/>
                      <a:pt x="339" y="463"/>
                      <a:pt x="336" y="457"/>
                    </a:cubicBezTo>
                    <a:cubicBezTo>
                      <a:pt x="333" y="451"/>
                      <a:pt x="334" y="455"/>
                      <a:pt x="332" y="450"/>
                    </a:cubicBezTo>
                    <a:cubicBezTo>
                      <a:pt x="330" y="445"/>
                      <a:pt x="329" y="443"/>
                      <a:pt x="329" y="442"/>
                    </a:cubicBezTo>
                    <a:cubicBezTo>
                      <a:pt x="329" y="441"/>
                      <a:pt x="329" y="439"/>
                      <a:pt x="329" y="438"/>
                    </a:cubicBezTo>
                    <a:cubicBezTo>
                      <a:pt x="329" y="436"/>
                      <a:pt x="329" y="425"/>
                      <a:pt x="327" y="424"/>
                    </a:cubicBezTo>
                    <a:cubicBezTo>
                      <a:pt x="326" y="423"/>
                      <a:pt x="327" y="422"/>
                      <a:pt x="326" y="421"/>
                    </a:cubicBezTo>
                    <a:cubicBezTo>
                      <a:pt x="325" y="420"/>
                      <a:pt x="325" y="419"/>
                      <a:pt x="324" y="418"/>
                    </a:cubicBezTo>
                    <a:cubicBezTo>
                      <a:pt x="323" y="417"/>
                      <a:pt x="321" y="416"/>
                      <a:pt x="321" y="415"/>
                    </a:cubicBezTo>
                    <a:cubicBezTo>
                      <a:pt x="321" y="413"/>
                      <a:pt x="320" y="413"/>
                      <a:pt x="320" y="411"/>
                    </a:cubicBezTo>
                    <a:cubicBezTo>
                      <a:pt x="320" y="410"/>
                      <a:pt x="319" y="409"/>
                      <a:pt x="319" y="408"/>
                    </a:cubicBezTo>
                    <a:cubicBezTo>
                      <a:pt x="319" y="407"/>
                      <a:pt x="319" y="405"/>
                      <a:pt x="319" y="404"/>
                    </a:cubicBezTo>
                    <a:cubicBezTo>
                      <a:pt x="319" y="402"/>
                      <a:pt x="319" y="402"/>
                      <a:pt x="320" y="401"/>
                    </a:cubicBezTo>
                    <a:cubicBezTo>
                      <a:pt x="322" y="399"/>
                      <a:pt x="325" y="400"/>
                      <a:pt x="326" y="399"/>
                    </a:cubicBezTo>
                    <a:cubicBezTo>
                      <a:pt x="327" y="398"/>
                      <a:pt x="330" y="398"/>
                      <a:pt x="330" y="396"/>
                    </a:cubicBezTo>
                    <a:cubicBezTo>
                      <a:pt x="330" y="394"/>
                      <a:pt x="330" y="392"/>
                      <a:pt x="326" y="392"/>
                    </a:cubicBezTo>
                    <a:cubicBezTo>
                      <a:pt x="322" y="392"/>
                      <a:pt x="319" y="390"/>
                      <a:pt x="316" y="390"/>
                    </a:cubicBezTo>
                    <a:cubicBezTo>
                      <a:pt x="312" y="390"/>
                      <a:pt x="310" y="389"/>
                      <a:pt x="310" y="388"/>
                    </a:cubicBezTo>
                    <a:cubicBezTo>
                      <a:pt x="309" y="387"/>
                      <a:pt x="309" y="387"/>
                      <a:pt x="306" y="385"/>
                    </a:cubicBezTo>
                    <a:cubicBezTo>
                      <a:pt x="304" y="382"/>
                      <a:pt x="304" y="380"/>
                      <a:pt x="304" y="380"/>
                    </a:cubicBezTo>
                    <a:cubicBezTo>
                      <a:pt x="304" y="380"/>
                      <a:pt x="304" y="378"/>
                      <a:pt x="306" y="377"/>
                    </a:cubicBezTo>
                    <a:cubicBezTo>
                      <a:pt x="307" y="376"/>
                      <a:pt x="307" y="374"/>
                      <a:pt x="307" y="374"/>
                    </a:cubicBezTo>
                    <a:cubicBezTo>
                      <a:pt x="307" y="374"/>
                      <a:pt x="306" y="379"/>
                      <a:pt x="303" y="371"/>
                    </a:cubicBezTo>
                    <a:cubicBezTo>
                      <a:pt x="300" y="362"/>
                      <a:pt x="296" y="363"/>
                      <a:pt x="296" y="363"/>
                    </a:cubicBezTo>
                    <a:cubicBezTo>
                      <a:pt x="296" y="363"/>
                      <a:pt x="294" y="362"/>
                      <a:pt x="293" y="360"/>
                    </a:cubicBezTo>
                    <a:cubicBezTo>
                      <a:pt x="291" y="358"/>
                      <a:pt x="289" y="358"/>
                      <a:pt x="288" y="357"/>
                    </a:cubicBezTo>
                    <a:cubicBezTo>
                      <a:pt x="287" y="356"/>
                      <a:pt x="286" y="355"/>
                      <a:pt x="286" y="355"/>
                    </a:cubicBezTo>
                    <a:cubicBezTo>
                      <a:pt x="286" y="355"/>
                      <a:pt x="285" y="355"/>
                      <a:pt x="283" y="354"/>
                    </a:cubicBezTo>
                    <a:cubicBezTo>
                      <a:pt x="282" y="352"/>
                      <a:pt x="281" y="352"/>
                      <a:pt x="281" y="352"/>
                    </a:cubicBezTo>
                    <a:cubicBezTo>
                      <a:pt x="281" y="352"/>
                      <a:pt x="273" y="351"/>
                      <a:pt x="273" y="347"/>
                    </a:cubicBezTo>
                    <a:cubicBezTo>
                      <a:pt x="273" y="344"/>
                      <a:pt x="273" y="342"/>
                      <a:pt x="273" y="340"/>
                    </a:cubicBezTo>
                    <a:cubicBezTo>
                      <a:pt x="276" y="333"/>
                      <a:pt x="276" y="333"/>
                      <a:pt x="276" y="333"/>
                    </a:cubicBezTo>
                    <a:cubicBezTo>
                      <a:pt x="279" y="328"/>
                      <a:pt x="279" y="328"/>
                      <a:pt x="279" y="328"/>
                    </a:cubicBezTo>
                    <a:cubicBezTo>
                      <a:pt x="279" y="322"/>
                      <a:pt x="279" y="322"/>
                      <a:pt x="279" y="322"/>
                    </a:cubicBezTo>
                    <a:cubicBezTo>
                      <a:pt x="279" y="315"/>
                      <a:pt x="279" y="315"/>
                      <a:pt x="279" y="315"/>
                    </a:cubicBezTo>
                    <a:cubicBezTo>
                      <a:pt x="275" y="312"/>
                      <a:pt x="275" y="312"/>
                      <a:pt x="275" y="312"/>
                    </a:cubicBezTo>
                    <a:cubicBezTo>
                      <a:pt x="275" y="312"/>
                      <a:pt x="271" y="310"/>
                      <a:pt x="271" y="306"/>
                    </a:cubicBezTo>
                    <a:cubicBezTo>
                      <a:pt x="271" y="302"/>
                      <a:pt x="268" y="299"/>
                      <a:pt x="268" y="299"/>
                    </a:cubicBezTo>
                    <a:cubicBezTo>
                      <a:pt x="264" y="292"/>
                      <a:pt x="264" y="292"/>
                      <a:pt x="264" y="292"/>
                    </a:cubicBezTo>
                    <a:cubicBezTo>
                      <a:pt x="256" y="295"/>
                      <a:pt x="256" y="295"/>
                      <a:pt x="256" y="295"/>
                    </a:cubicBezTo>
                    <a:cubicBezTo>
                      <a:pt x="246" y="301"/>
                      <a:pt x="246" y="301"/>
                      <a:pt x="246" y="301"/>
                    </a:cubicBezTo>
                    <a:cubicBezTo>
                      <a:pt x="240" y="301"/>
                      <a:pt x="212" y="295"/>
                      <a:pt x="212" y="29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8" name="Freeform 93">
                <a:extLst>
                  <a:ext uri="{FF2B5EF4-FFF2-40B4-BE49-F238E27FC236}">
                    <a16:creationId xmlns:a16="http://schemas.microsoft.com/office/drawing/2014/main" id="{B402E568-185E-4E56-B6FB-01F5D02D8E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65" y="1282"/>
                <a:ext cx="41" cy="22"/>
              </a:xfrm>
              <a:custGeom>
                <a:avLst/>
                <a:gdLst>
                  <a:gd name="T0" fmla="*/ 36 w 24"/>
                  <a:gd name="T1" fmla="*/ 22 h 13"/>
                  <a:gd name="T2" fmla="*/ 36 w 24"/>
                  <a:gd name="T3" fmla="*/ 14 h 13"/>
                  <a:gd name="T4" fmla="*/ 41 w 24"/>
                  <a:gd name="T5" fmla="*/ 7 h 13"/>
                  <a:gd name="T6" fmla="*/ 31 w 24"/>
                  <a:gd name="T7" fmla="*/ 0 h 13"/>
                  <a:gd name="T8" fmla="*/ 14 w 24"/>
                  <a:gd name="T9" fmla="*/ 0 h 13"/>
                  <a:gd name="T10" fmla="*/ 0 w 24"/>
                  <a:gd name="T11" fmla="*/ 0 h 13"/>
                  <a:gd name="T12" fmla="*/ 15 w 24"/>
                  <a:gd name="T13" fmla="*/ 8 h 13"/>
                  <a:gd name="T14" fmla="*/ 24 w 24"/>
                  <a:gd name="T15" fmla="*/ 15 h 13"/>
                  <a:gd name="T16" fmla="*/ 36 w 24"/>
                  <a:gd name="T17" fmla="*/ 22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4" h="13">
                    <a:moveTo>
                      <a:pt x="21" y="13"/>
                    </a:moveTo>
                    <a:cubicBezTo>
                      <a:pt x="21" y="8"/>
                      <a:pt x="21" y="8"/>
                      <a:pt x="21" y="8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4" y="4"/>
                      <a:pt x="23" y="0"/>
                      <a:pt x="18" y="0"/>
                    </a:cubicBezTo>
                    <a:cubicBezTo>
                      <a:pt x="13" y="0"/>
                      <a:pt x="8" y="0"/>
                      <a:pt x="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4" y="9"/>
                      <a:pt x="14" y="9"/>
                      <a:pt x="14" y="9"/>
                    </a:cubicBezTo>
                    <a:lnTo>
                      <a:pt x="21" y="1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9" name="Freeform 94">
                <a:extLst>
                  <a:ext uri="{FF2B5EF4-FFF2-40B4-BE49-F238E27FC236}">
                    <a16:creationId xmlns:a16="http://schemas.microsoft.com/office/drawing/2014/main" id="{0E8E1701-A558-4A3D-B611-67173B4691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95" y="1246"/>
                <a:ext cx="42" cy="22"/>
              </a:xfrm>
              <a:custGeom>
                <a:avLst/>
                <a:gdLst>
                  <a:gd name="T0" fmla="*/ 32 w 25"/>
                  <a:gd name="T1" fmla="*/ 22 h 13"/>
                  <a:gd name="T2" fmla="*/ 32 w 25"/>
                  <a:gd name="T3" fmla="*/ 15 h 13"/>
                  <a:gd name="T4" fmla="*/ 32 w 25"/>
                  <a:gd name="T5" fmla="*/ 5 h 13"/>
                  <a:gd name="T6" fmla="*/ 22 w 25"/>
                  <a:gd name="T7" fmla="*/ 5 h 13"/>
                  <a:gd name="T8" fmla="*/ 17 w 25"/>
                  <a:gd name="T9" fmla="*/ 10 h 13"/>
                  <a:gd name="T10" fmla="*/ 0 w 25"/>
                  <a:gd name="T11" fmla="*/ 10 h 13"/>
                  <a:gd name="T12" fmla="*/ 13 w 25"/>
                  <a:gd name="T13" fmla="*/ 20 h 13"/>
                  <a:gd name="T14" fmla="*/ 32 w 25"/>
                  <a:gd name="T15" fmla="*/ 22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5" h="13">
                    <a:moveTo>
                      <a:pt x="19" y="13"/>
                    </a:moveTo>
                    <a:cubicBezTo>
                      <a:pt x="19" y="9"/>
                      <a:pt x="19" y="9"/>
                      <a:pt x="19" y="9"/>
                    </a:cubicBezTo>
                    <a:cubicBezTo>
                      <a:pt x="19" y="9"/>
                      <a:pt x="25" y="3"/>
                      <a:pt x="19" y="3"/>
                    </a:cubicBezTo>
                    <a:cubicBezTo>
                      <a:pt x="13" y="3"/>
                      <a:pt x="16" y="0"/>
                      <a:pt x="13" y="3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8" y="12"/>
                      <a:pt x="8" y="12"/>
                      <a:pt x="8" y="12"/>
                    </a:cubicBezTo>
                    <a:lnTo>
                      <a:pt x="19" y="1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0" name="Freeform 95">
                <a:extLst>
                  <a:ext uri="{FF2B5EF4-FFF2-40B4-BE49-F238E27FC236}">
                    <a16:creationId xmlns:a16="http://schemas.microsoft.com/office/drawing/2014/main" id="{FFEE4FEA-C638-4596-87B5-A5E00AE3085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51" y="1230"/>
                <a:ext cx="47" cy="10"/>
              </a:xfrm>
              <a:custGeom>
                <a:avLst/>
                <a:gdLst>
                  <a:gd name="T0" fmla="*/ 30 w 47"/>
                  <a:gd name="T1" fmla="*/ 10 h 10"/>
                  <a:gd name="T2" fmla="*/ 47 w 47"/>
                  <a:gd name="T3" fmla="*/ 10 h 10"/>
                  <a:gd name="T4" fmla="*/ 44 w 47"/>
                  <a:gd name="T5" fmla="*/ 0 h 10"/>
                  <a:gd name="T6" fmla="*/ 32 w 47"/>
                  <a:gd name="T7" fmla="*/ 0 h 10"/>
                  <a:gd name="T8" fmla="*/ 24 w 47"/>
                  <a:gd name="T9" fmla="*/ 0 h 10"/>
                  <a:gd name="T10" fmla="*/ 17 w 47"/>
                  <a:gd name="T11" fmla="*/ 0 h 10"/>
                  <a:gd name="T12" fmla="*/ 0 w 47"/>
                  <a:gd name="T13" fmla="*/ 0 h 10"/>
                  <a:gd name="T14" fmla="*/ 8 w 47"/>
                  <a:gd name="T15" fmla="*/ 8 h 10"/>
                  <a:gd name="T16" fmla="*/ 30 w 47"/>
                  <a:gd name="T17" fmla="*/ 10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7" h="10">
                    <a:moveTo>
                      <a:pt x="30" y="10"/>
                    </a:moveTo>
                    <a:lnTo>
                      <a:pt x="47" y="10"/>
                    </a:lnTo>
                    <a:lnTo>
                      <a:pt x="44" y="0"/>
                    </a:lnTo>
                    <a:lnTo>
                      <a:pt x="32" y="0"/>
                    </a:lnTo>
                    <a:lnTo>
                      <a:pt x="24" y="0"/>
                    </a:lnTo>
                    <a:lnTo>
                      <a:pt x="17" y="0"/>
                    </a:lnTo>
                    <a:lnTo>
                      <a:pt x="0" y="0"/>
                    </a:lnTo>
                    <a:lnTo>
                      <a:pt x="8" y="8"/>
                    </a:lnTo>
                    <a:lnTo>
                      <a:pt x="30" y="1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1" name="Freeform 96">
                <a:extLst>
                  <a:ext uri="{FF2B5EF4-FFF2-40B4-BE49-F238E27FC236}">
                    <a16:creationId xmlns:a16="http://schemas.microsoft.com/office/drawing/2014/main" id="{DB1BF7F0-5BA3-4731-9D88-D589F98602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2" y="1798"/>
                <a:ext cx="38" cy="90"/>
              </a:xfrm>
              <a:custGeom>
                <a:avLst/>
                <a:gdLst>
                  <a:gd name="T0" fmla="*/ 18 w 23"/>
                  <a:gd name="T1" fmla="*/ 83 h 54"/>
                  <a:gd name="T2" fmla="*/ 25 w 23"/>
                  <a:gd name="T3" fmla="*/ 83 h 54"/>
                  <a:gd name="T4" fmla="*/ 30 w 23"/>
                  <a:gd name="T5" fmla="*/ 70 h 54"/>
                  <a:gd name="T6" fmla="*/ 33 w 23"/>
                  <a:gd name="T7" fmla="*/ 63 h 54"/>
                  <a:gd name="T8" fmla="*/ 33 w 23"/>
                  <a:gd name="T9" fmla="*/ 53 h 54"/>
                  <a:gd name="T10" fmla="*/ 35 w 23"/>
                  <a:gd name="T11" fmla="*/ 45 h 54"/>
                  <a:gd name="T12" fmla="*/ 35 w 23"/>
                  <a:gd name="T13" fmla="*/ 38 h 54"/>
                  <a:gd name="T14" fmla="*/ 38 w 23"/>
                  <a:gd name="T15" fmla="*/ 25 h 54"/>
                  <a:gd name="T16" fmla="*/ 38 w 23"/>
                  <a:gd name="T17" fmla="*/ 17 h 54"/>
                  <a:gd name="T18" fmla="*/ 30 w 23"/>
                  <a:gd name="T19" fmla="*/ 8 h 54"/>
                  <a:gd name="T20" fmla="*/ 21 w 23"/>
                  <a:gd name="T21" fmla="*/ 17 h 54"/>
                  <a:gd name="T22" fmla="*/ 21 w 23"/>
                  <a:gd name="T23" fmla="*/ 32 h 54"/>
                  <a:gd name="T24" fmla="*/ 10 w 23"/>
                  <a:gd name="T25" fmla="*/ 33 h 54"/>
                  <a:gd name="T26" fmla="*/ 3 w 23"/>
                  <a:gd name="T27" fmla="*/ 40 h 54"/>
                  <a:gd name="T28" fmla="*/ 3 w 23"/>
                  <a:gd name="T29" fmla="*/ 55 h 54"/>
                  <a:gd name="T30" fmla="*/ 3 w 23"/>
                  <a:gd name="T31" fmla="*/ 70 h 54"/>
                  <a:gd name="T32" fmla="*/ 12 w 23"/>
                  <a:gd name="T33" fmla="*/ 52 h 54"/>
                  <a:gd name="T34" fmla="*/ 20 w 23"/>
                  <a:gd name="T35" fmla="*/ 60 h 54"/>
                  <a:gd name="T36" fmla="*/ 12 w 23"/>
                  <a:gd name="T37" fmla="*/ 73 h 54"/>
                  <a:gd name="T38" fmla="*/ 18 w 23"/>
                  <a:gd name="T39" fmla="*/ 83 h 5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23" h="54">
                    <a:moveTo>
                      <a:pt x="11" y="50"/>
                    </a:moveTo>
                    <a:cubicBezTo>
                      <a:pt x="11" y="50"/>
                      <a:pt x="15" y="54"/>
                      <a:pt x="15" y="50"/>
                    </a:cubicBezTo>
                    <a:cubicBezTo>
                      <a:pt x="15" y="46"/>
                      <a:pt x="18" y="42"/>
                      <a:pt x="18" y="42"/>
                    </a:cubicBezTo>
                    <a:cubicBezTo>
                      <a:pt x="18" y="42"/>
                      <a:pt x="17" y="42"/>
                      <a:pt x="20" y="38"/>
                    </a:cubicBezTo>
                    <a:cubicBezTo>
                      <a:pt x="23" y="35"/>
                      <a:pt x="20" y="32"/>
                      <a:pt x="20" y="32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3" y="10"/>
                      <a:pt x="18" y="0"/>
                      <a:pt x="18" y="5"/>
                    </a:cubicBezTo>
                    <a:cubicBezTo>
                      <a:pt x="18" y="10"/>
                      <a:pt x="13" y="10"/>
                      <a:pt x="13" y="10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2" y="24"/>
                      <a:pt x="2" y="30"/>
                      <a:pt x="2" y="33"/>
                    </a:cubicBezTo>
                    <a:cubicBezTo>
                      <a:pt x="2" y="37"/>
                      <a:pt x="0" y="49"/>
                      <a:pt x="2" y="42"/>
                    </a:cubicBezTo>
                    <a:cubicBezTo>
                      <a:pt x="4" y="35"/>
                      <a:pt x="7" y="31"/>
                      <a:pt x="7" y="31"/>
                    </a:cubicBezTo>
                    <a:cubicBezTo>
                      <a:pt x="7" y="31"/>
                      <a:pt x="17" y="31"/>
                      <a:pt x="12" y="36"/>
                    </a:cubicBezTo>
                    <a:cubicBezTo>
                      <a:pt x="7" y="41"/>
                      <a:pt x="7" y="44"/>
                      <a:pt x="7" y="44"/>
                    </a:cubicBezTo>
                    <a:lnTo>
                      <a:pt x="11" y="5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2" name="Freeform 97">
                <a:extLst>
                  <a:ext uri="{FF2B5EF4-FFF2-40B4-BE49-F238E27FC236}">
                    <a16:creationId xmlns:a16="http://schemas.microsoft.com/office/drawing/2014/main" id="{1E2A8AF1-0AB6-47E8-867F-D5B2E9DD18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4" y="1757"/>
                <a:ext cx="26" cy="36"/>
              </a:xfrm>
              <a:custGeom>
                <a:avLst/>
                <a:gdLst>
                  <a:gd name="T0" fmla="*/ 8 w 16"/>
                  <a:gd name="T1" fmla="*/ 29 h 21"/>
                  <a:gd name="T2" fmla="*/ 15 w 16"/>
                  <a:gd name="T3" fmla="*/ 29 h 21"/>
                  <a:gd name="T4" fmla="*/ 20 w 16"/>
                  <a:gd name="T5" fmla="*/ 24 h 21"/>
                  <a:gd name="T6" fmla="*/ 26 w 16"/>
                  <a:gd name="T7" fmla="*/ 17 h 21"/>
                  <a:gd name="T8" fmla="*/ 23 w 16"/>
                  <a:gd name="T9" fmla="*/ 7 h 21"/>
                  <a:gd name="T10" fmla="*/ 15 w 16"/>
                  <a:gd name="T11" fmla="*/ 0 h 21"/>
                  <a:gd name="T12" fmla="*/ 11 w 16"/>
                  <a:gd name="T13" fmla="*/ 14 h 21"/>
                  <a:gd name="T14" fmla="*/ 5 w 16"/>
                  <a:gd name="T15" fmla="*/ 21 h 21"/>
                  <a:gd name="T16" fmla="*/ 0 w 16"/>
                  <a:gd name="T17" fmla="*/ 31 h 21"/>
                  <a:gd name="T18" fmla="*/ 8 w 16"/>
                  <a:gd name="T19" fmla="*/ 29 h 2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6" h="21">
                    <a:moveTo>
                      <a:pt x="5" y="17"/>
                    </a:moveTo>
                    <a:cubicBezTo>
                      <a:pt x="5" y="17"/>
                      <a:pt x="9" y="21"/>
                      <a:pt x="9" y="17"/>
                    </a:cubicBezTo>
                    <a:cubicBezTo>
                      <a:pt x="9" y="14"/>
                      <a:pt x="12" y="14"/>
                      <a:pt x="12" y="14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3" y="9"/>
                      <a:pt x="3" y="12"/>
                    </a:cubicBezTo>
                    <a:cubicBezTo>
                      <a:pt x="3" y="15"/>
                      <a:pt x="0" y="18"/>
                      <a:pt x="0" y="18"/>
                    </a:cubicBezTo>
                    <a:lnTo>
                      <a:pt x="5" y="1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3" name="Freeform 98">
                <a:extLst>
                  <a:ext uri="{FF2B5EF4-FFF2-40B4-BE49-F238E27FC236}">
                    <a16:creationId xmlns:a16="http://schemas.microsoft.com/office/drawing/2014/main" id="{343C81F6-4334-4682-887D-EFB1373458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4" y="1700"/>
                <a:ext cx="28" cy="45"/>
              </a:xfrm>
              <a:custGeom>
                <a:avLst/>
                <a:gdLst>
                  <a:gd name="T0" fmla="*/ 0 w 17"/>
                  <a:gd name="T1" fmla="*/ 42 h 27"/>
                  <a:gd name="T2" fmla="*/ 18 w 17"/>
                  <a:gd name="T3" fmla="*/ 38 h 27"/>
                  <a:gd name="T4" fmla="*/ 25 w 17"/>
                  <a:gd name="T5" fmla="*/ 38 h 27"/>
                  <a:gd name="T6" fmla="*/ 25 w 17"/>
                  <a:gd name="T7" fmla="*/ 23 h 27"/>
                  <a:gd name="T8" fmla="*/ 28 w 17"/>
                  <a:gd name="T9" fmla="*/ 13 h 27"/>
                  <a:gd name="T10" fmla="*/ 28 w 17"/>
                  <a:gd name="T11" fmla="*/ 7 h 27"/>
                  <a:gd name="T12" fmla="*/ 28 w 17"/>
                  <a:gd name="T13" fmla="*/ 0 h 27"/>
                  <a:gd name="T14" fmla="*/ 20 w 17"/>
                  <a:gd name="T15" fmla="*/ 0 h 27"/>
                  <a:gd name="T16" fmla="*/ 20 w 17"/>
                  <a:gd name="T17" fmla="*/ 7 h 27"/>
                  <a:gd name="T18" fmla="*/ 13 w 17"/>
                  <a:gd name="T19" fmla="*/ 13 h 27"/>
                  <a:gd name="T20" fmla="*/ 13 w 17"/>
                  <a:gd name="T21" fmla="*/ 22 h 27"/>
                  <a:gd name="T22" fmla="*/ 8 w 17"/>
                  <a:gd name="T23" fmla="*/ 27 h 27"/>
                  <a:gd name="T24" fmla="*/ 3 w 17"/>
                  <a:gd name="T25" fmla="*/ 33 h 27"/>
                  <a:gd name="T26" fmla="*/ 0 w 17"/>
                  <a:gd name="T27" fmla="*/ 42 h 2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7" h="27">
                    <a:moveTo>
                      <a:pt x="0" y="25"/>
                    </a:move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3"/>
                      <a:pt x="15" y="27"/>
                      <a:pt x="15" y="23"/>
                    </a:cubicBezTo>
                    <a:cubicBezTo>
                      <a:pt x="15" y="20"/>
                      <a:pt x="12" y="16"/>
                      <a:pt x="15" y="14"/>
                    </a:cubicBezTo>
                    <a:cubicBezTo>
                      <a:pt x="17" y="12"/>
                      <a:pt x="17" y="8"/>
                      <a:pt x="17" y="8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2" y="20"/>
                      <a:pt x="2" y="20"/>
                      <a:pt x="2" y="20"/>
                    </a:cubicBezTo>
                    <a:lnTo>
                      <a:pt x="0" y="25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4" name="Freeform 99">
                <a:extLst>
                  <a:ext uri="{FF2B5EF4-FFF2-40B4-BE49-F238E27FC236}">
                    <a16:creationId xmlns:a16="http://schemas.microsoft.com/office/drawing/2014/main" id="{CFF6C4D2-6B1A-4773-93BE-11D4D69DDB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3" y="1660"/>
                <a:ext cx="41" cy="54"/>
              </a:xfrm>
              <a:custGeom>
                <a:avLst/>
                <a:gdLst>
                  <a:gd name="T0" fmla="*/ 31 w 24"/>
                  <a:gd name="T1" fmla="*/ 54 h 32"/>
                  <a:gd name="T2" fmla="*/ 36 w 24"/>
                  <a:gd name="T3" fmla="*/ 44 h 32"/>
                  <a:gd name="T4" fmla="*/ 36 w 24"/>
                  <a:gd name="T5" fmla="*/ 37 h 32"/>
                  <a:gd name="T6" fmla="*/ 36 w 24"/>
                  <a:gd name="T7" fmla="*/ 27 h 32"/>
                  <a:gd name="T8" fmla="*/ 26 w 24"/>
                  <a:gd name="T9" fmla="*/ 17 h 32"/>
                  <a:gd name="T10" fmla="*/ 17 w 24"/>
                  <a:gd name="T11" fmla="*/ 10 h 32"/>
                  <a:gd name="T12" fmla="*/ 10 w 24"/>
                  <a:gd name="T13" fmla="*/ 10 h 32"/>
                  <a:gd name="T14" fmla="*/ 0 w 24"/>
                  <a:gd name="T15" fmla="*/ 10 h 32"/>
                  <a:gd name="T16" fmla="*/ 0 w 24"/>
                  <a:gd name="T17" fmla="*/ 35 h 32"/>
                  <a:gd name="T18" fmla="*/ 7 w 24"/>
                  <a:gd name="T19" fmla="*/ 42 h 32"/>
                  <a:gd name="T20" fmla="*/ 15 w 24"/>
                  <a:gd name="T21" fmla="*/ 51 h 32"/>
                  <a:gd name="T22" fmla="*/ 31 w 24"/>
                  <a:gd name="T23" fmla="*/ 54 h 3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4" h="32">
                    <a:moveTo>
                      <a:pt x="18" y="32"/>
                    </a:moveTo>
                    <a:cubicBezTo>
                      <a:pt x="18" y="29"/>
                      <a:pt x="21" y="26"/>
                      <a:pt x="21" y="26"/>
                    </a:cubicBezTo>
                    <a:cubicBezTo>
                      <a:pt x="21" y="26"/>
                      <a:pt x="21" y="28"/>
                      <a:pt x="21" y="22"/>
                    </a:cubicBezTo>
                    <a:cubicBezTo>
                      <a:pt x="21" y="16"/>
                      <a:pt x="24" y="19"/>
                      <a:pt x="21" y="16"/>
                    </a:cubicBezTo>
                    <a:cubicBezTo>
                      <a:pt x="18" y="14"/>
                      <a:pt x="15" y="10"/>
                      <a:pt x="15" y="10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0" y="0"/>
                      <a:pt x="0" y="6"/>
                    </a:cubicBezTo>
                    <a:cubicBezTo>
                      <a:pt x="0" y="11"/>
                      <a:pt x="0" y="21"/>
                      <a:pt x="0" y="21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9" y="30"/>
                      <a:pt x="9" y="30"/>
                      <a:pt x="9" y="30"/>
                    </a:cubicBezTo>
                    <a:lnTo>
                      <a:pt x="18" y="3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5" name="Freeform 100">
                <a:extLst>
                  <a:ext uri="{FF2B5EF4-FFF2-40B4-BE49-F238E27FC236}">
                    <a16:creationId xmlns:a16="http://schemas.microsoft.com/office/drawing/2014/main" id="{E4AF0237-EF0E-4DB7-A551-8D5B216EC6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58" y="1707"/>
                <a:ext cx="27" cy="69"/>
              </a:xfrm>
              <a:custGeom>
                <a:avLst/>
                <a:gdLst>
                  <a:gd name="T0" fmla="*/ 5 w 16"/>
                  <a:gd name="T1" fmla="*/ 69 h 41"/>
                  <a:gd name="T2" fmla="*/ 19 w 16"/>
                  <a:gd name="T3" fmla="*/ 56 h 41"/>
                  <a:gd name="T4" fmla="*/ 19 w 16"/>
                  <a:gd name="T5" fmla="*/ 40 h 41"/>
                  <a:gd name="T6" fmla="*/ 19 w 16"/>
                  <a:gd name="T7" fmla="*/ 32 h 41"/>
                  <a:gd name="T8" fmla="*/ 19 w 16"/>
                  <a:gd name="T9" fmla="*/ 24 h 41"/>
                  <a:gd name="T10" fmla="*/ 27 w 16"/>
                  <a:gd name="T11" fmla="*/ 15 h 41"/>
                  <a:gd name="T12" fmla="*/ 19 w 16"/>
                  <a:gd name="T13" fmla="*/ 7 h 41"/>
                  <a:gd name="T14" fmla="*/ 10 w 16"/>
                  <a:gd name="T15" fmla="*/ 5 h 41"/>
                  <a:gd name="T16" fmla="*/ 5 w 16"/>
                  <a:gd name="T17" fmla="*/ 10 h 41"/>
                  <a:gd name="T18" fmla="*/ 5 w 16"/>
                  <a:gd name="T19" fmla="*/ 19 h 41"/>
                  <a:gd name="T20" fmla="*/ 5 w 16"/>
                  <a:gd name="T21" fmla="*/ 37 h 41"/>
                  <a:gd name="T22" fmla="*/ 0 w 16"/>
                  <a:gd name="T23" fmla="*/ 42 h 41"/>
                  <a:gd name="T24" fmla="*/ 0 w 16"/>
                  <a:gd name="T25" fmla="*/ 57 h 41"/>
                  <a:gd name="T26" fmla="*/ 5 w 16"/>
                  <a:gd name="T27" fmla="*/ 69 h 4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6" h="41">
                    <a:moveTo>
                      <a:pt x="3" y="41"/>
                    </a:moveTo>
                    <a:cubicBezTo>
                      <a:pt x="11" y="33"/>
                      <a:pt x="11" y="33"/>
                      <a:pt x="11" y="33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4"/>
                      <a:pt x="9" y="0"/>
                      <a:pt x="6" y="3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11"/>
                    </a:cubicBezTo>
                    <a:cubicBezTo>
                      <a:pt x="3" y="15"/>
                      <a:pt x="3" y="22"/>
                      <a:pt x="3" y="22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34"/>
                      <a:pt x="0" y="34"/>
                      <a:pt x="0" y="34"/>
                    </a:cubicBezTo>
                    <a:lnTo>
                      <a:pt x="3" y="41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6" name="Freeform 101">
                <a:extLst>
                  <a:ext uri="{FF2B5EF4-FFF2-40B4-BE49-F238E27FC236}">
                    <a16:creationId xmlns:a16="http://schemas.microsoft.com/office/drawing/2014/main" id="{4DAA79DB-A53C-4056-874F-02FCFB7D63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4" y="1088"/>
                <a:ext cx="37" cy="32"/>
              </a:xfrm>
              <a:custGeom>
                <a:avLst/>
                <a:gdLst>
                  <a:gd name="T0" fmla="*/ 13 w 22"/>
                  <a:gd name="T1" fmla="*/ 32 h 19"/>
                  <a:gd name="T2" fmla="*/ 29 w 22"/>
                  <a:gd name="T3" fmla="*/ 32 h 19"/>
                  <a:gd name="T4" fmla="*/ 29 w 22"/>
                  <a:gd name="T5" fmla="*/ 15 h 19"/>
                  <a:gd name="T6" fmla="*/ 7 w 22"/>
                  <a:gd name="T7" fmla="*/ 7 h 19"/>
                  <a:gd name="T8" fmla="*/ 2 w 22"/>
                  <a:gd name="T9" fmla="*/ 0 h 19"/>
                  <a:gd name="T10" fmla="*/ 0 w 22"/>
                  <a:gd name="T11" fmla="*/ 15 h 19"/>
                  <a:gd name="T12" fmla="*/ 0 w 22"/>
                  <a:gd name="T13" fmla="*/ 24 h 19"/>
                  <a:gd name="T14" fmla="*/ 13 w 22"/>
                  <a:gd name="T15" fmla="*/ 32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2" h="19">
                    <a:moveTo>
                      <a:pt x="8" y="19"/>
                    </a:move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22" y="14"/>
                      <a:pt x="17" y="9"/>
                    </a:cubicBezTo>
                    <a:cubicBezTo>
                      <a:pt x="11" y="4"/>
                      <a:pt x="4" y="4"/>
                      <a:pt x="4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lnTo>
                      <a:pt x="8" y="1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7" name="Freeform 102">
                <a:extLst>
                  <a:ext uri="{FF2B5EF4-FFF2-40B4-BE49-F238E27FC236}">
                    <a16:creationId xmlns:a16="http://schemas.microsoft.com/office/drawing/2014/main" id="{A2CDA897-F639-4A7F-9C21-7D97978626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06" y="930"/>
                <a:ext cx="25" cy="58"/>
              </a:xfrm>
              <a:custGeom>
                <a:avLst/>
                <a:gdLst>
                  <a:gd name="T0" fmla="*/ 0 w 15"/>
                  <a:gd name="T1" fmla="*/ 48 h 34"/>
                  <a:gd name="T2" fmla="*/ 15 w 15"/>
                  <a:gd name="T3" fmla="*/ 58 h 34"/>
                  <a:gd name="T4" fmla="*/ 25 w 15"/>
                  <a:gd name="T5" fmla="*/ 58 h 34"/>
                  <a:gd name="T6" fmla="*/ 25 w 15"/>
                  <a:gd name="T7" fmla="*/ 49 h 34"/>
                  <a:gd name="T8" fmla="*/ 25 w 15"/>
                  <a:gd name="T9" fmla="*/ 38 h 34"/>
                  <a:gd name="T10" fmla="*/ 25 w 15"/>
                  <a:gd name="T11" fmla="*/ 26 h 34"/>
                  <a:gd name="T12" fmla="*/ 20 w 15"/>
                  <a:gd name="T13" fmla="*/ 10 h 34"/>
                  <a:gd name="T14" fmla="*/ 20 w 15"/>
                  <a:gd name="T15" fmla="*/ 2 h 34"/>
                  <a:gd name="T16" fmla="*/ 0 w 15"/>
                  <a:gd name="T17" fmla="*/ 0 h 34"/>
                  <a:gd name="T18" fmla="*/ 0 w 15"/>
                  <a:gd name="T19" fmla="*/ 10 h 34"/>
                  <a:gd name="T20" fmla="*/ 0 w 15"/>
                  <a:gd name="T21" fmla="*/ 20 h 34"/>
                  <a:gd name="T22" fmla="*/ 10 w 15"/>
                  <a:gd name="T23" fmla="*/ 29 h 34"/>
                  <a:gd name="T24" fmla="*/ 0 w 15"/>
                  <a:gd name="T25" fmla="*/ 48 h 3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5" h="34">
                    <a:moveTo>
                      <a:pt x="0" y="28"/>
                    </a:moveTo>
                    <a:cubicBezTo>
                      <a:pt x="9" y="34"/>
                      <a:pt x="9" y="34"/>
                      <a:pt x="9" y="34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5" y="34"/>
                      <a:pt x="15" y="33"/>
                      <a:pt x="15" y="29"/>
                    </a:cubicBezTo>
                    <a:cubicBezTo>
                      <a:pt x="15" y="26"/>
                      <a:pt x="15" y="22"/>
                      <a:pt x="15" y="22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6" y="17"/>
                      <a:pt x="6" y="17"/>
                      <a:pt x="6" y="17"/>
                    </a:cubicBezTo>
                    <a:lnTo>
                      <a:pt x="0" y="2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4" name="Group 278">
              <a:extLst>
                <a:ext uri="{FF2B5EF4-FFF2-40B4-BE49-F238E27FC236}">
                  <a16:creationId xmlns:a16="http://schemas.microsoft.com/office/drawing/2014/main" id="{3263EA71-AAC6-4E39-90C2-1B66EC1F7DF4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153963" y="2028400"/>
              <a:ext cx="6899358" cy="4264116"/>
              <a:chOff x="987" y="635"/>
              <a:chExt cx="4134" cy="2555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15" name="Freeform 31">
                <a:extLst>
                  <a:ext uri="{FF2B5EF4-FFF2-40B4-BE49-F238E27FC236}">
                    <a16:creationId xmlns:a16="http://schemas.microsoft.com/office/drawing/2014/main" id="{27440FF0-C4B6-4517-BD58-EE7AA31CD8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83" y="1054"/>
                <a:ext cx="139" cy="250"/>
              </a:xfrm>
              <a:custGeom>
                <a:avLst/>
                <a:gdLst>
                  <a:gd name="T0" fmla="*/ 0 w 138"/>
                  <a:gd name="T1" fmla="*/ 32 h 248"/>
                  <a:gd name="T2" fmla="*/ 6 w 138"/>
                  <a:gd name="T3" fmla="*/ 42 h 248"/>
                  <a:gd name="T4" fmla="*/ 4 w 138"/>
                  <a:gd name="T5" fmla="*/ 46 h 248"/>
                  <a:gd name="T6" fmla="*/ 8 w 138"/>
                  <a:gd name="T7" fmla="*/ 50 h 248"/>
                  <a:gd name="T8" fmla="*/ 8 w 138"/>
                  <a:gd name="T9" fmla="*/ 54 h 248"/>
                  <a:gd name="T10" fmla="*/ 20 w 138"/>
                  <a:gd name="T11" fmla="*/ 83 h 248"/>
                  <a:gd name="T12" fmla="*/ 24 w 138"/>
                  <a:gd name="T13" fmla="*/ 103 h 248"/>
                  <a:gd name="T14" fmla="*/ 18 w 138"/>
                  <a:gd name="T15" fmla="*/ 115 h 248"/>
                  <a:gd name="T16" fmla="*/ 20 w 138"/>
                  <a:gd name="T17" fmla="*/ 125 h 248"/>
                  <a:gd name="T18" fmla="*/ 32 w 138"/>
                  <a:gd name="T19" fmla="*/ 153 h 248"/>
                  <a:gd name="T20" fmla="*/ 30 w 138"/>
                  <a:gd name="T21" fmla="*/ 165 h 248"/>
                  <a:gd name="T22" fmla="*/ 32 w 138"/>
                  <a:gd name="T23" fmla="*/ 171 h 248"/>
                  <a:gd name="T24" fmla="*/ 34 w 138"/>
                  <a:gd name="T25" fmla="*/ 169 h 248"/>
                  <a:gd name="T26" fmla="*/ 34 w 138"/>
                  <a:gd name="T27" fmla="*/ 167 h 248"/>
                  <a:gd name="T28" fmla="*/ 38 w 138"/>
                  <a:gd name="T29" fmla="*/ 165 h 248"/>
                  <a:gd name="T30" fmla="*/ 46 w 138"/>
                  <a:gd name="T31" fmla="*/ 179 h 248"/>
                  <a:gd name="T32" fmla="*/ 50 w 138"/>
                  <a:gd name="T33" fmla="*/ 204 h 248"/>
                  <a:gd name="T34" fmla="*/ 50 w 138"/>
                  <a:gd name="T35" fmla="*/ 218 h 248"/>
                  <a:gd name="T36" fmla="*/ 56 w 138"/>
                  <a:gd name="T37" fmla="*/ 234 h 248"/>
                  <a:gd name="T38" fmla="*/ 64 w 138"/>
                  <a:gd name="T39" fmla="*/ 250 h 248"/>
                  <a:gd name="T40" fmla="*/ 117 w 138"/>
                  <a:gd name="T41" fmla="*/ 238 h 248"/>
                  <a:gd name="T42" fmla="*/ 117 w 138"/>
                  <a:gd name="T43" fmla="*/ 234 h 248"/>
                  <a:gd name="T44" fmla="*/ 111 w 138"/>
                  <a:gd name="T45" fmla="*/ 228 h 248"/>
                  <a:gd name="T46" fmla="*/ 111 w 138"/>
                  <a:gd name="T47" fmla="*/ 218 h 248"/>
                  <a:gd name="T48" fmla="*/ 113 w 138"/>
                  <a:gd name="T49" fmla="*/ 214 h 248"/>
                  <a:gd name="T50" fmla="*/ 111 w 138"/>
                  <a:gd name="T51" fmla="*/ 204 h 248"/>
                  <a:gd name="T52" fmla="*/ 107 w 138"/>
                  <a:gd name="T53" fmla="*/ 163 h 248"/>
                  <a:gd name="T54" fmla="*/ 107 w 138"/>
                  <a:gd name="T55" fmla="*/ 151 h 248"/>
                  <a:gd name="T56" fmla="*/ 111 w 138"/>
                  <a:gd name="T57" fmla="*/ 127 h 248"/>
                  <a:gd name="T58" fmla="*/ 115 w 138"/>
                  <a:gd name="T59" fmla="*/ 111 h 248"/>
                  <a:gd name="T60" fmla="*/ 117 w 138"/>
                  <a:gd name="T61" fmla="*/ 101 h 248"/>
                  <a:gd name="T62" fmla="*/ 111 w 138"/>
                  <a:gd name="T63" fmla="*/ 91 h 248"/>
                  <a:gd name="T64" fmla="*/ 111 w 138"/>
                  <a:gd name="T65" fmla="*/ 83 h 248"/>
                  <a:gd name="T66" fmla="*/ 115 w 138"/>
                  <a:gd name="T67" fmla="*/ 77 h 248"/>
                  <a:gd name="T68" fmla="*/ 131 w 138"/>
                  <a:gd name="T69" fmla="*/ 65 h 248"/>
                  <a:gd name="T70" fmla="*/ 139 w 138"/>
                  <a:gd name="T71" fmla="*/ 42 h 248"/>
                  <a:gd name="T72" fmla="*/ 131 w 138"/>
                  <a:gd name="T73" fmla="*/ 28 h 248"/>
                  <a:gd name="T74" fmla="*/ 129 w 138"/>
                  <a:gd name="T75" fmla="*/ 22 h 248"/>
                  <a:gd name="T76" fmla="*/ 133 w 138"/>
                  <a:gd name="T77" fmla="*/ 18 h 248"/>
                  <a:gd name="T78" fmla="*/ 131 w 138"/>
                  <a:gd name="T79" fmla="*/ 14 h 248"/>
                  <a:gd name="T80" fmla="*/ 127 w 138"/>
                  <a:gd name="T81" fmla="*/ 0 h 248"/>
                  <a:gd name="T82" fmla="*/ 0 w 138"/>
                  <a:gd name="T83" fmla="*/ 32 h 248"/>
                  <a:gd name="T84" fmla="*/ 0 w 138"/>
                  <a:gd name="T85" fmla="*/ 32 h 24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38" h="248">
                    <a:moveTo>
                      <a:pt x="0" y="32"/>
                    </a:moveTo>
                    <a:lnTo>
                      <a:pt x="6" y="42"/>
                    </a:lnTo>
                    <a:lnTo>
                      <a:pt x="4" y="46"/>
                    </a:lnTo>
                    <a:lnTo>
                      <a:pt x="8" y="50"/>
                    </a:lnTo>
                    <a:lnTo>
                      <a:pt x="8" y="54"/>
                    </a:lnTo>
                    <a:lnTo>
                      <a:pt x="20" y="82"/>
                    </a:lnTo>
                    <a:lnTo>
                      <a:pt x="24" y="102"/>
                    </a:lnTo>
                    <a:lnTo>
                      <a:pt x="18" y="114"/>
                    </a:lnTo>
                    <a:lnTo>
                      <a:pt x="20" y="124"/>
                    </a:lnTo>
                    <a:lnTo>
                      <a:pt x="32" y="152"/>
                    </a:lnTo>
                    <a:lnTo>
                      <a:pt x="30" y="164"/>
                    </a:lnTo>
                    <a:lnTo>
                      <a:pt x="32" y="170"/>
                    </a:lnTo>
                    <a:lnTo>
                      <a:pt x="34" y="168"/>
                    </a:lnTo>
                    <a:lnTo>
                      <a:pt x="34" y="166"/>
                    </a:lnTo>
                    <a:lnTo>
                      <a:pt x="38" y="164"/>
                    </a:lnTo>
                    <a:lnTo>
                      <a:pt x="46" y="178"/>
                    </a:lnTo>
                    <a:lnTo>
                      <a:pt x="50" y="202"/>
                    </a:lnTo>
                    <a:lnTo>
                      <a:pt x="50" y="216"/>
                    </a:lnTo>
                    <a:lnTo>
                      <a:pt x="56" y="232"/>
                    </a:lnTo>
                    <a:lnTo>
                      <a:pt x="64" y="248"/>
                    </a:lnTo>
                    <a:lnTo>
                      <a:pt x="116" y="236"/>
                    </a:lnTo>
                    <a:lnTo>
                      <a:pt x="116" y="232"/>
                    </a:lnTo>
                    <a:lnTo>
                      <a:pt x="110" y="226"/>
                    </a:lnTo>
                    <a:lnTo>
                      <a:pt x="110" y="216"/>
                    </a:lnTo>
                    <a:lnTo>
                      <a:pt x="112" y="212"/>
                    </a:lnTo>
                    <a:lnTo>
                      <a:pt x="110" y="202"/>
                    </a:lnTo>
                    <a:lnTo>
                      <a:pt x="106" y="162"/>
                    </a:lnTo>
                    <a:lnTo>
                      <a:pt x="106" y="150"/>
                    </a:lnTo>
                    <a:lnTo>
                      <a:pt x="110" y="126"/>
                    </a:lnTo>
                    <a:lnTo>
                      <a:pt x="114" y="110"/>
                    </a:lnTo>
                    <a:lnTo>
                      <a:pt x="116" y="100"/>
                    </a:lnTo>
                    <a:lnTo>
                      <a:pt x="110" y="90"/>
                    </a:lnTo>
                    <a:lnTo>
                      <a:pt x="110" y="82"/>
                    </a:lnTo>
                    <a:lnTo>
                      <a:pt x="114" y="76"/>
                    </a:lnTo>
                    <a:lnTo>
                      <a:pt x="130" y="64"/>
                    </a:lnTo>
                    <a:lnTo>
                      <a:pt x="138" y="42"/>
                    </a:lnTo>
                    <a:lnTo>
                      <a:pt x="130" y="28"/>
                    </a:lnTo>
                    <a:lnTo>
                      <a:pt x="128" y="22"/>
                    </a:lnTo>
                    <a:lnTo>
                      <a:pt x="132" y="18"/>
                    </a:lnTo>
                    <a:lnTo>
                      <a:pt x="130" y="14"/>
                    </a:lnTo>
                    <a:lnTo>
                      <a:pt x="126" y="0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11117680-6703-4E7E-BA62-E4BB19968C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2" y="635"/>
                <a:ext cx="529" cy="385"/>
              </a:xfrm>
              <a:custGeom>
                <a:avLst/>
                <a:gdLst>
                  <a:gd name="T0" fmla="*/ 6 w 526"/>
                  <a:gd name="T1" fmla="*/ 233 h 384"/>
                  <a:gd name="T2" fmla="*/ 0 w 526"/>
                  <a:gd name="T3" fmla="*/ 233 h 384"/>
                  <a:gd name="T4" fmla="*/ 4 w 526"/>
                  <a:gd name="T5" fmla="*/ 217 h 384"/>
                  <a:gd name="T6" fmla="*/ 6 w 526"/>
                  <a:gd name="T7" fmla="*/ 207 h 384"/>
                  <a:gd name="T8" fmla="*/ 8 w 526"/>
                  <a:gd name="T9" fmla="*/ 203 h 384"/>
                  <a:gd name="T10" fmla="*/ 12 w 526"/>
                  <a:gd name="T11" fmla="*/ 211 h 384"/>
                  <a:gd name="T12" fmla="*/ 10 w 526"/>
                  <a:gd name="T13" fmla="*/ 217 h 384"/>
                  <a:gd name="T14" fmla="*/ 20 w 526"/>
                  <a:gd name="T15" fmla="*/ 211 h 384"/>
                  <a:gd name="T16" fmla="*/ 18 w 526"/>
                  <a:gd name="T17" fmla="*/ 203 h 384"/>
                  <a:gd name="T18" fmla="*/ 20 w 526"/>
                  <a:gd name="T19" fmla="*/ 193 h 384"/>
                  <a:gd name="T20" fmla="*/ 14 w 526"/>
                  <a:gd name="T21" fmla="*/ 176 h 384"/>
                  <a:gd name="T22" fmla="*/ 20 w 526"/>
                  <a:gd name="T23" fmla="*/ 176 h 384"/>
                  <a:gd name="T24" fmla="*/ 32 w 526"/>
                  <a:gd name="T25" fmla="*/ 170 h 384"/>
                  <a:gd name="T26" fmla="*/ 24 w 526"/>
                  <a:gd name="T27" fmla="*/ 162 h 384"/>
                  <a:gd name="T28" fmla="*/ 16 w 526"/>
                  <a:gd name="T29" fmla="*/ 166 h 384"/>
                  <a:gd name="T30" fmla="*/ 16 w 526"/>
                  <a:gd name="T31" fmla="*/ 148 h 384"/>
                  <a:gd name="T32" fmla="*/ 18 w 526"/>
                  <a:gd name="T33" fmla="*/ 126 h 384"/>
                  <a:gd name="T34" fmla="*/ 18 w 526"/>
                  <a:gd name="T35" fmla="*/ 98 h 384"/>
                  <a:gd name="T36" fmla="*/ 12 w 526"/>
                  <a:gd name="T37" fmla="*/ 62 h 384"/>
                  <a:gd name="T38" fmla="*/ 14 w 526"/>
                  <a:gd name="T39" fmla="*/ 34 h 384"/>
                  <a:gd name="T40" fmla="*/ 68 w 526"/>
                  <a:gd name="T41" fmla="*/ 54 h 384"/>
                  <a:gd name="T42" fmla="*/ 113 w 526"/>
                  <a:gd name="T43" fmla="*/ 74 h 384"/>
                  <a:gd name="T44" fmla="*/ 135 w 526"/>
                  <a:gd name="T45" fmla="*/ 82 h 384"/>
                  <a:gd name="T46" fmla="*/ 143 w 526"/>
                  <a:gd name="T47" fmla="*/ 88 h 384"/>
                  <a:gd name="T48" fmla="*/ 143 w 526"/>
                  <a:gd name="T49" fmla="*/ 118 h 384"/>
                  <a:gd name="T50" fmla="*/ 131 w 526"/>
                  <a:gd name="T51" fmla="*/ 134 h 384"/>
                  <a:gd name="T52" fmla="*/ 133 w 526"/>
                  <a:gd name="T53" fmla="*/ 148 h 384"/>
                  <a:gd name="T54" fmla="*/ 131 w 526"/>
                  <a:gd name="T55" fmla="*/ 156 h 384"/>
                  <a:gd name="T56" fmla="*/ 135 w 526"/>
                  <a:gd name="T57" fmla="*/ 166 h 384"/>
                  <a:gd name="T58" fmla="*/ 149 w 526"/>
                  <a:gd name="T59" fmla="*/ 138 h 384"/>
                  <a:gd name="T60" fmla="*/ 159 w 526"/>
                  <a:gd name="T61" fmla="*/ 124 h 384"/>
                  <a:gd name="T62" fmla="*/ 171 w 526"/>
                  <a:gd name="T63" fmla="*/ 106 h 384"/>
                  <a:gd name="T64" fmla="*/ 155 w 526"/>
                  <a:gd name="T65" fmla="*/ 58 h 384"/>
                  <a:gd name="T66" fmla="*/ 159 w 526"/>
                  <a:gd name="T67" fmla="*/ 52 h 384"/>
                  <a:gd name="T68" fmla="*/ 171 w 526"/>
                  <a:gd name="T69" fmla="*/ 42 h 384"/>
                  <a:gd name="T70" fmla="*/ 161 w 526"/>
                  <a:gd name="T71" fmla="*/ 26 h 384"/>
                  <a:gd name="T72" fmla="*/ 159 w 526"/>
                  <a:gd name="T73" fmla="*/ 0 h 384"/>
                  <a:gd name="T74" fmla="*/ 364 w 526"/>
                  <a:gd name="T75" fmla="*/ 54 h 384"/>
                  <a:gd name="T76" fmla="*/ 529 w 526"/>
                  <a:gd name="T77" fmla="*/ 92 h 384"/>
                  <a:gd name="T78" fmla="*/ 473 w 526"/>
                  <a:gd name="T79" fmla="*/ 343 h 384"/>
                  <a:gd name="T80" fmla="*/ 469 w 526"/>
                  <a:gd name="T81" fmla="*/ 351 h 384"/>
                  <a:gd name="T82" fmla="*/ 473 w 526"/>
                  <a:gd name="T83" fmla="*/ 359 h 384"/>
                  <a:gd name="T84" fmla="*/ 475 w 526"/>
                  <a:gd name="T85" fmla="*/ 367 h 384"/>
                  <a:gd name="T86" fmla="*/ 469 w 526"/>
                  <a:gd name="T87" fmla="*/ 373 h 384"/>
                  <a:gd name="T88" fmla="*/ 471 w 526"/>
                  <a:gd name="T89" fmla="*/ 385 h 384"/>
                  <a:gd name="T90" fmla="*/ 320 w 526"/>
                  <a:gd name="T91" fmla="*/ 355 h 384"/>
                  <a:gd name="T92" fmla="*/ 306 w 526"/>
                  <a:gd name="T93" fmla="*/ 353 h 384"/>
                  <a:gd name="T94" fmla="*/ 292 w 526"/>
                  <a:gd name="T95" fmla="*/ 351 h 384"/>
                  <a:gd name="T96" fmla="*/ 278 w 526"/>
                  <a:gd name="T97" fmla="*/ 353 h 384"/>
                  <a:gd name="T98" fmla="*/ 257 w 526"/>
                  <a:gd name="T99" fmla="*/ 351 h 384"/>
                  <a:gd name="T100" fmla="*/ 239 w 526"/>
                  <a:gd name="T101" fmla="*/ 357 h 384"/>
                  <a:gd name="T102" fmla="*/ 219 w 526"/>
                  <a:gd name="T103" fmla="*/ 353 h 384"/>
                  <a:gd name="T104" fmla="*/ 177 w 526"/>
                  <a:gd name="T105" fmla="*/ 353 h 384"/>
                  <a:gd name="T106" fmla="*/ 145 w 526"/>
                  <a:gd name="T107" fmla="*/ 335 h 384"/>
                  <a:gd name="T108" fmla="*/ 115 w 526"/>
                  <a:gd name="T109" fmla="*/ 335 h 384"/>
                  <a:gd name="T110" fmla="*/ 70 w 526"/>
                  <a:gd name="T111" fmla="*/ 325 h 384"/>
                  <a:gd name="T112" fmla="*/ 68 w 526"/>
                  <a:gd name="T113" fmla="*/ 291 h 384"/>
                  <a:gd name="T114" fmla="*/ 66 w 526"/>
                  <a:gd name="T115" fmla="*/ 271 h 384"/>
                  <a:gd name="T116" fmla="*/ 40 w 526"/>
                  <a:gd name="T117" fmla="*/ 259 h 384"/>
                  <a:gd name="T118" fmla="*/ 34 w 526"/>
                  <a:gd name="T119" fmla="*/ 249 h 38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526" h="384">
                    <a:moveTo>
                      <a:pt x="20" y="242"/>
                    </a:moveTo>
                    <a:lnTo>
                      <a:pt x="6" y="232"/>
                    </a:lnTo>
                    <a:lnTo>
                      <a:pt x="2" y="232"/>
                    </a:lnTo>
                    <a:lnTo>
                      <a:pt x="0" y="232"/>
                    </a:lnTo>
                    <a:lnTo>
                      <a:pt x="0" y="228"/>
                    </a:lnTo>
                    <a:lnTo>
                      <a:pt x="4" y="216"/>
                    </a:lnTo>
                    <a:lnTo>
                      <a:pt x="6" y="210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8" y="202"/>
                    </a:lnTo>
                    <a:lnTo>
                      <a:pt x="10" y="202"/>
                    </a:lnTo>
                    <a:lnTo>
                      <a:pt x="12" y="210"/>
                    </a:lnTo>
                    <a:lnTo>
                      <a:pt x="10" y="214"/>
                    </a:lnTo>
                    <a:lnTo>
                      <a:pt x="10" y="216"/>
                    </a:lnTo>
                    <a:lnTo>
                      <a:pt x="10" y="218"/>
                    </a:lnTo>
                    <a:lnTo>
                      <a:pt x="20" y="210"/>
                    </a:lnTo>
                    <a:lnTo>
                      <a:pt x="18" y="208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20" y="192"/>
                    </a:lnTo>
                    <a:lnTo>
                      <a:pt x="14" y="190"/>
                    </a:lnTo>
                    <a:lnTo>
                      <a:pt x="14" y="176"/>
                    </a:lnTo>
                    <a:lnTo>
                      <a:pt x="16" y="174"/>
                    </a:lnTo>
                    <a:lnTo>
                      <a:pt x="20" y="176"/>
                    </a:lnTo>
                    <a:lnTo>
                      <a:pt x="22" y="174"/>
                    </a:lnTo>
                    <a:lnTo>
                      <a:pt x="32" y="170"/>
                    </a:lnTo>
                    <a:lnTo>
                      <a:pt x="24" y="164"/>
                    </a:lnTo>
                    <a:lnTo>
                      <a:pt x="24" y="162"/>
                    </a:lnTo>
                    <a:lnTo>
                      <a:pt x="16" y="166"/>
                    </a:lnTo>
                    <a:lnTo>
                      <a:pt x="16" y="154"/>
                    </a:lnTo>
                    <a:lnTo>
                      <a:pt x="16" y="148"/>
                    </a:lnTo>
                    <a:lnTo>
                      <a:pt x="18" y="136"/>
                    </a:lnTo>
                    <a:lnTo>
                      <a:pt x="18" y="126"/>
                    </a:lnTo>
                    <a:lnTo>
                      <a:pt x="16" y="118"/>
                    </a:lnTo>
                    <a:lnTo>
                      <a:pt x="18" y="98"/>
                    </a:lnTo>
                    <a:lnTo>
                      <a:pt x="20" y="90"/>
                    </a:lnTo>
                    <a:lnTo>
                      <a:pt x="12" y="62"/>
                    </a:lnTo>
                    <a:lnTo>
                      <a:pt x="12" y="44"/>
                    </a:lnTo>
                    <a:lnTo>
                      <a:pt x="14" y="34"/>
                    </a:lnTo>
                    <a:lnTo>
                      <a:pt x="18" y="18"/>
                    </a:lnTo>
                    <a:lnTo>
                      <a:pt x="68" y="54"/>
                    </a:lnTo>
                    <a:lnTo>
                      <a:pt x="92" y="68"/>
                    </a:lnTo>
                    <a:lnTo>
                      <a:pt x="112" y="74"/>
                    </a:lnTo>
                    <a:lnTo>
                      <a:pt x="124" y="82"/>
                    </a:lnTo>
                    <a:lnTo>
                      <a:pt x="134" y="82"/>
                    </a:lnTo>
                    <a:lnTo>
                      <a:pt x="138" y="84"/>
                    </a:lnTo>
                    <a:lnTo>
                      <a:pt x="142" y="88"/>
                    </a:lnTo>
                    <a:lnTo>
                      <a:pt x="144" y="114"/>
                    </a:lnTo>
                    <a:lnTo>
                      <a:pt x="142" y="118"/>
                    </a:lnTo>
                    <a:lnTo>
                      <a:pt x="134" y="124"/>
                    </a:lnTo>
                    <a:lnTo>
                      <a:pt x="130" y="134"/>
                    </a:lnTo>
                    <a:lnTo>
                      <a:pt x="130" y="144"/>
                    </a:lnTo>
                    <a:lnTo>
                      <a:pt x="132" y="148"/>
                    </a:lnTo>
                    <a:lnTo>
                      <a:pt x="132" y="152"/>
                    </a:lnTo>
                    <a:lnTo>
                      <a:pt x="130" y="156"/>
                    </a:lnTo>
                    <a:lnTo>
                      <a:pt x="130" y="162"/>
                    </a:lnTo>
                    <a:lnTo>
                      <a:pt x="134" y="166"/>
                    </a:lnTo>
                    <a:lnTo>
                      <a:pt x="144" y="160"/>
                    </a:lnTo>
                    <a:lnTo>
                      <a:pt x="148" y="138"/>
                    </a:lnTo>
                    <a:lnTo>
                      <a:pt x="154" y="134"/>
                    </a:lnTo>
                    <a:lnTo>
                      <a:pt x="158" y="124"/>
                    </a:lnTo>
                    <a:lnTo>
                      <a:pt x="170" y="110"/>
                    </a:lnTo>
                    <a:lnTo>
                      <a:pt x="170" y="106"/>
                    </a:lnTo>
                    <a:lnTo>
                      <a:pt x="164" y="86"/>
                    </a:lnTo>
                    <a:lnTo>
                      <a:pt x="154" y="58"/>
                    </a:lnTo>
                    <a:lnTo>
                      <a:pt x="154" y="54"/>
                    </a:lnTo>
                    <a:lnTo>
                      <a:pt x="158" y="52"/>
                    </a:lnTo>
                    <a:lnTo>
                      <a:pt x="164" y="54"/>
                    </a:lnTo>
                    <a:lnTo>
                      <a:pt x="170" y="42"/>
                    </a:lnTo>
                    <a:lnTo>
                      <a:pt x="168" y="28"/>
                    </a:lnTo>
                    <a:lnTo>
                      <a:pt x="160" y="26"/>
                    </a:lnTo>
                    <a:lnTo>
                      <a:pt x="158" y="18"/>
                    </a:lnTo>
                    <a:lnTo>
                      <a:pt x="158" y="0"/>
                    </a:lnTo>
                    <a:lnTo>
                      <a:pt x="262" y="28"/>
                    </a:lnTo>
                    <a:lnTo>
                      <a:pt x="362" y="54"/>
                    </a:lnTo>
                    <a:lnTo>
                      <a:pt x="524" y="92"/>
                    </a:lnTo>
                    <a:lnTo>
                      <a:pt x="526" y="92"/>
                    </a:lnTo>
                    <a:lnTo>
                      <a:pt x="470" y="342"/>
                    </a:lnTo>
                    <a:lnTo>
                      <a:pt x="468" y="344"/>
                    </a:lnTo>
                    <a:lnTo>
                      <a:pt x="466" y="350"/>
                    </a:lnTo>
                    <a:lnTo>
                      <a:pt x="468" y="354"/>
                    </a:lnTo>
                    <a:lnTo>
                      <a:pt x="470" y="358"/>
                    </a:lnTo>
                    <a:lnTo>
                      <a:pt x="472" y="362"/>
                    </a:lnTo>
                    <a:lnTo>
                      <a:pt x="472" y="366"/>
                    </a:lnTo>
                    <a:lnTo>
                      <a:pt x="470" y="366"/>
                    </a:lnTo>
                    <a:lnTo>
                      <a:pt x="466" y="372"/>
                    </a:lnTo>
                    <a:lnTo>
                      <a:pt x="466" y="378"/>
                    </a:lnTo>
                    <a:lnTo>
                      <a:pt x="468" y="384"/>
                    </a:lnTo>
                    <a:lnTo>
                      <a:pt x="330" y="352"/>
                    </a:lnTo>
                    <a:lnTo>
                      <a:pt x="318" y="354"/>
                    </a:lnTo>
                    <a:lnTo>
                      <a:pt x="312" y="354"/>
                    </a:lnTo>
                    <a:lnTo>
                      <a:pt x="304" y="352"/>
                    </a:lnTo>
                    <a:lnTo>
                      <a:pt x="296" y="352"/>
                    </a:lnTo>
                    <a:lnTo>
                      <a:pt x="290" y="350"/>
                    </a:lnTo>
                    <a:lnTo>
                      <a:pt x="284" y="350"/>
                    </a:lnTo>
                    <a:lnTo>
                      <a:pt x="276" y="352"/>
                    </a:lnTo>
                    <a:lnTo>
                      <a:pt x="266" y="350"/>
                    </a:lnTo>
                    <a:lnTo>
                      <a:pt x="256" y="350"/>
                    </a:lnTo>
                    <a:lnTo>
                      <a:pt x="246" y="354"/>
                    </a:lnTo>
                    <a:lnTo>
                      <a:pt x="238" y="356"/>
                    </a:lnTo>
                    <a:lnTo>
                      <a:pt x="222" y="354"/>
                    </a:lnTo>
                    <a:lnTo>
                      <a:pt x="218" y="352"/>
                    </a:lnTo>
                    <a:lnTo>
                      <a:pt x="206" y="346"/>
                    </a:lnTo>
                    <a:lnTo>
                      <a:pt x="176" y="352"/>
                    </a:lnTo>
                    <a:lnTo>
                      <a:pt x="170" y="342"/>
                    </a:lnTo>
                    <a:lnTo>
                      <a:pt x="144" y="334"/>
                    </a:lnTo>
                    <a:lnTo>
                      <a:pt x="130" y="332"/>
                    </a:lnTo>
                    <a:lnTo>
                      <a:pt x="114" y="334"/>
                    </a:lnTo>
                    <a:lnTo>
                      <a:pt x="90" y="332"/>
                    </a:lnTo>
                    <a:lnTo>
                      <a:pt x="70" y="324"/>
                    </a:lnTo>
                    <a:lnTo>
                      <a:pt x="66" y="314"/>
                    </a:lnTo>
                    <a:lnTo>
                      <a:pt x="68" y="290"/>
                    </a:lnTo>
                    <a:lnTo>
                      <a:pt x="70" y="284"/>
                    </a:lnTo>
                    <a:lnTo>
                      <a:pt x="66" y="270"/>
                    </a:lnTo>
                    <a:lnTo>
                      <a:pt x="52" y="258"/>
                    </a:lnTo>
                    <a:lnTo>
                      <a:pt x="40" y="258"/>
                    </a:lnTo>
                    <a:lnTo>
                      <a:pt x="40" y="254"/>
                    </a:lnTo>
                    <a:lnTo>
                      <a:pt x="34" y="248"/>
                    </a:lnTo>
                    <a:lnTo>
                      <a:pt x="20" y="24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E0640A28-0E7D-4915-9C8F-19F9498F18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57" y="726"/>
                <a:ext cx="472" cy="768"/>
              </a:xfrm>
              <a:custGeom>
                <a:avLst/>
                <a:gdLst>
                  <a:gd name="T0" fmla="*/ 40 w 470"/>
                  <a:gd name="T1" fmla="*/ 506 h 762"/>
                  <a:gd name="T2" fmla="*/ 50 w 470"/>
                  <a:gd name="T3" fmla="*/ 482 h 762"/>
                  <a:gd name="T4" fmla="*/ 54 w 470"/>
                  <a:gd name="T5" fmla="*/ 478 h 762"/>
                  <a:gd name="T6" fmla="*/ 52 w 470"/>
                  <a:gd name="T7" fmla="*/ 464 h 762"/>
                  <a:gd name="T8" fmla="*/ 38 w 470"/>
                  <a:gd name="T9" fmla="*/ 452 h 762"/>
                  <a:gd name="T10" fmla="*/ 58 w 470"/>
                  <a:gd name="T11" fmla="*/ 413 h 762"/>
                  <a:gd name="T12" fmla="*/ 76 w 470"/>
                  <a:gd name="T13" fmla="*/ 399 h 762"/>
                  <a:gd name="T14" fmla="*/ 84 w 470"/>
                  <a:gd name="T15" fmla="*/ 387 h 762"/>
                  <a:gd name="T16" fmla="*/ 116 w 470"/>
                  <a:gd name="T17" fmla="*/ 321 h 762"/>
                  <a:gd name="T18" fmla="*/ 102 w 470"/>
                  <a:gd name="T19" fmla="*/ 312 h 762"/>
                  <a:gd name="T20" fmla="*/ 94 w 470"/>
                  <a:gd name="T21" fmla="*/ 294 h 762"/>
                  <a:gd name="T22" fmla="*/ 96 w 470"/>
                  <a:gd name="T23" fmla="*/ 276 h 762"/>
                  <a:gd name="T24" fmla="*/ 94 w 470"/>
                  <a:gd name="T25" fmla="*/ 264 h 762"/>
                  <a:gd name="T26" fmla="*/ 96 w 470"/>
                  <a:gd name="T27" fmla="*/ 252 h 762"/>
                  <a:gd name="T28" fmla="*/ 151 w 470"/>
                  <a:gd name="T29" fmla="*/ 0 h 762"/>
                  <a:gd name="T30" fmla="*/ 197 w 470"/>
                  <a:gd name="T31" fmla="*/ 111 h 762"/>
                  <a:gd name="T32" fmla="*/ 213 w 470"/>
                  <a:gd name="T33" fmla="*/ 155 h 762"/>
                  <a:gd name="T34" fmla="*/ 205 w 470"/>
                  <a:gd name="T35" fmla="*/ 169 h 762"/>
                  <a:gd name="T36" fmla="*/ 217 w 470"/>
                  <a:gd name="T37" fmla="*/ 185 h 762"/>
                  <a:gd name="T38" fmla="*/ 247 w 470"/>
                  <a:gd name="T39" fmla="*/ 228 h 762"/>
                  <a:gd name="T40" fmla="*/ 255 w 470"/>
                  <a:gd name="T41" fmla="*/ 254 h 762"/>
                  <a:gd name="T42" fmla="*/ 265 w 470"/>
                  <a:gd name="T43" fmla="*/ 262 h 762"/>
                  <a:gd name="T44" fmla="*/ 285 w 470"/>
                  <a:gd name="T45" fmla="*/ 270 h 762"/>
                  <a:gd name="T46" fmla="*/ 271 w 470"/>
                  <a:gd name="T47" fmla="*/ 306 h 762"/>
                  <a:gd name="T48" fmla="*/ 263 w 470"/>
                  <a:gd name="T49" fmla="*/ 329 h 762"/>
                  <a:gd name="T50" fmla="*/ 265 w 470"/>
                  <a:gd name="T51" fmla="*/ 339 h 762"/>
                  <a:gd name="T52" fmla="*/ 253 w 470"/>
                  <a:gd name="T53" fmla="*/ 355 h 762"/>
                  <a:gd name="T54" fmla="*/ 251 w 470"/>
                  <a:gd name="T55" fmla="*/ 369 h 762"/>
                  <a:gd name="T56" fmla="*/ 269 w 470"/>
                  <a:gd name="T57" fmla="*/ 381 h 762"/>
                  <a:gd name="T58" fmla="*/ 293 w 470"/>
                  <a:gd name="T59" fmla="*/ 363 h 762"/>
                  <a:gd name="T60" fmla="*/ 297 w 470"/>
                  <a:gd name="T61" fmla="*/ 371 h 762"/>
                  <a:gd name="T62" fmla="*/ 305 w 470"/>
                  <a:gd name="T63" fmla="*/ 377 h 762"/>
                  <a:gd name="T64" fmla="*/ 303 w 470"/>
                  <a:gd name="T65" fmla="*/ 409 h 762"/>
                  <a:gd name="T66" fmla="*/ 315 w 470"/>
                  <a:gd name="T67" fmla="*/ 433 h 762"/>
                  <a:gd name="T68" fmla="*/ 309 w 470"/>
                  <a:gd name="T69" fmla="*/ 447 h 762"/>
                  <a:gd name="T70" fmla="*/ 325 w 470"/>
                  <a:gd name="T71" fmla="*/ 462 h 762"/>
                  <a:gd name="T72" fmla="*/ 335 w 470"/>
                  <a:gd name="T73" fmla="*/ 478 h 762"/>
                  <a:gd name="T74" fmla="*/ 331 w 470"/>
                  <a:gd name="T75" fmla="*/ 494 h 762"/>
                  <a:gd name="T76" fmla="*/ 347 w 470"/>
                  <a:gd name="T77" fmla="*/ 510 h 762"/>
                  <a:gd name="T78" fmla="*/ 358 w 470"/>
                  <a:gd name="T79" fmla="*/ 498 h 762"/>
                  <a:gd name="T80" fmla="*/ 378 w 470"/>
                  <a:gd name="T81" fmla="*/ 506 h 762"/>
                  <a:gd name="T82" fmla="*/ 390 w 470"/>
                  <a:gd name="T83" fmla="*/ 498 h 762"/>
                  <a:gd name="T84" fmla="*/ 414 w 470"/>
                  <a:gd name="T85" fmla="*/ 502 h 762"/>
                  <a:gd name="T86" fmla="*/ 426 w 470"/>
                  <a:gd name="T87" fmla="*/ 506 h 762"/>
                  <a:gd name="T88" fmla="*/ 444 w 470"/>
                  <a:gd name="T89" fmla="*/ 498 h 762"/>
                  <a:gd name="T90" fmla="*/ 464 w 470"/>
                  <a:gd name="T91" fmla="*/ 500 h 762"/>
                  <a:gd name="T92" fmla="*/ 472 w 470"/>
                  <a:gd name="T93" fmla="*/ 520 h 762"/>
                  <a:gd name="T94" fmla="*/ 438 w 470"/>
                  <a:gd name="T95" fmla="*/ 768 h 762"/>
                  <a:gd name="T96" fmla="*/ 217 w 470"/>
                  <a:gd name="T97" fmla="*/ 728 h 76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70" h="762">
                    <a:moveTo>
                      <a:pt x="0" y="678"/>
                    </a:moveTo>
                    <a:lnTo>
                      <a:pt x="40" y="502"/>
                    </a:lnTo>
                    <a:lnTo>
                      <a:pt x="50" y="490"/>
                    </a:lnTo>
                    <a:lnTo>
                      <a:pt x="50" y="478"/>
                    </a:lnTo>
                    <a:lnTo>
                      <a:pt x="52" y="476"/>
                    </a:lnTo>
                    <a:lnTo>
                      <a:pt x="54" y="474"/>
                    </a:lnTo>
                    <a:lnTo>
                      <a:pt x="56" y="468"/>
                    </a:lnTo>
                    <a:lnTo>
                      <a:pt x="52" y="460"/>
                    </a:lnTo>
                    <a:lnTo>
                      <a:pt x="40" y="456"/>
                    </a:lnTo>
                    <a:lnTo>
                      <a:pt x="38" y="448"/>
                    </a:lnTo>
                    <a:lnTo>
                      <a:pt x="42" y="436"/>
                    </a:lnTo>
                    <a:lnTo>
                      <a:pt x="58" y="410"/>
                    </a:lnTo>
                    <a:lnTo>
                      <a:pt x="70" y="404"/>
                    </a:lnTo>
                    <a:lnTo>
                      <a:pt x="76" y="396"/>
                    </a:lnTo>
                    <a:lnTo>
                      <a:pt x="78" y="390"/>
                    </a:lnTo>
                    <a:lnTo>
                      <a:pt x="84" y="384"/>
                    </a:lnTo>
                    <a:lnTo>
                      <a:pt x="118" y="332"/>
                    </a:lnTo>
                    <a:lnTo>
                      <a:pt x="116" y="318"/>
                    </a:lnTo>
                    <a:lnTo>
                      <a:pt x="108" y="312"/>
                    </a:lnTo>
                    <a:lnTo>
                      <a:pt x="102" y="310"/>
                    </a:lnTo>
                    <a:lnTo>
                      <a:pt x="96" y="300"/>
                    </a:lnTo>
                    <a:lnTo>
                      <a:pt x="94" y="292"/>
                    </a:lnTo>
                    <a:lnTo>
                      <a:pt x="92" y="280"/>
                    </a:lnTo>
                    <a:lnTo>
                      <a:pt x="96" y="274"/>
                    </a:lnTo>
                    <a:lnTo>
                      <a:pt x="98" y="270"/>
                    </a:lnTo>
                    <a:lnTo>
                      <a:pt x="94" y="262"/>
                    </a:lnTo>
                    <a:lnTo>
                      <a:pt x="94" y="252"/>
                    </a:lnTo>
                    <a:lnTo>
                      <a:pt x="96" y="250"/>
                    </a:lnTo>
                    <a:lnTo>
                      <a:pt x="152" y="0"/>
                    </a:lnTo>
                    <a:lnTo>
                      <a:pt x="150" y="0"/>
                    </a:lnTo>
                    <a:lnTo>
                      <a:pt x="214" y="16"/>
                    </a:lnTo>
                    <a:lnTo>
                      <a:pt x="196" y="110"/>
                    </a:lnTo>
                    <a:lnTo>
                      <a:pt x="208" y="136"/>
                    </a:lnTo>
                    <a:lnTo>
                      <a:pt x="212" y="154"/>
                    </a:lnTo>
                    <a:lnTo>
                      <a:pt x="208" y="162"/>
                    </a:lnTo>
                    <a:lnTo>
                      <a:pt x="204" y="168"/>
                    </a:lnTo>
                    <a:lnTo>
                      <a:pt x="208" y="172"/>
                    </a:lnTo>
                    <a:lnTo>
                      <a:pt x="216" y="184"/>
                    </a:lnTo>
                    <a:lnTo>
                      <a:pt x="234" y="200"/>
                    </a:lnTo>
                    <a:lnTo>
                      <a:pt x="246" y="226"/>
                    </a:lnTo>
                    <a:lnTo>
                      <a:pt x="248" y="238"/>
                    </a:lnTo>
                    <a:lnTo>
                      <a:pt x="254" y="252"/>
                    </a:lnTo>
                    <a:lnTo>
                      <a:pt x="264" y="252"/>
                    </a:lnTo>
                    <a:lnTo>
                      <a:pt x="264" y="260"/>
                    </a:lnTo>
                    <a:lnTo>
                      <a:pt x="280" y="262"/>
                    </a:lnTo>
                    <a:lnTo>
                      <a:pt x="284" y="268"/>
                    </a:lnTo>
                    <a:lnTo>
                      <a:pt x="268" y="300"/>
                    </a:lnTo>
                    <a:lnTo>
                      <a:pt x="270" y="304"/>
                    </a:lnTo>
                    <a:lnTo>
                      <a:pt x="264" y="310"/>
                    </a:lnTo>
                    <a:lnTo>
                      <a:pt x="262" y="326"/>
                    </a:lnTo>
                    <a:lnTo>
                      <a:pt x="264" y="326"/>
                    </a:lnTo>
                    <a:lnTo>
                      <a:pt x="264" y="336"/>
                    </a:lnTo>
                    <a:lnTo>
                      <a:pt x="252" y="344"/>
                    </a:lnTo>
                    <a:lnTo>
                      <a:pt x="252" y="352"/>
                    </a:lnTo>
                    <a:lnTo>
                      <a:pt x="254" y="358"/>
                    </a:lnTo>
                    <a:lnTo>
                      <a:pt x="250" y="366"/>
                    </a:lnTo>
                    <a:lnTo>
                      <a:pt x="264" y="378"/>
                    </a:lnTo>
                    <a:lnTo>
                      <a:pt x="268" y="378"/>
                    </a:lnTo>
                    <a:lnTo>
                      <a:pt x="288" y="360"/>
                    </a:lnTo>
                    <a:lnTo>
                      <a:pt x="292" y="360"/>
                    </a:lnTo>
                    <a:lnTo>
                      <a:pt x="294" y="360"/>
                    </a:lnTo>
                    <a:lnTo>
                      <a:pt x="296" y="368"/>
                    </a:lnTo>
                    <a:lnTo>
                      <a:pt x="300" y="370"/>
                    </a:lnTo>
                    <a:lnTo>
                      <a:pt x="304" y="374"/>
                    </a:lnTo>
                    <a:lnTo>
                      <a:pt x="302" y="386"/>
                    </a:lnTo>
                    <a:lnTo>
                      <a:pt x="302" y="406"/>
                    </a:lnTo>
                    <a:lnTo>
                      <a:pt x="306" y="418"/>
                    </a:lnTo>
                    <a:lnTo>
                      <a:pt x="314" y="430"/>
                    </a:lnTo>
                    <a:lnTo>
                      <a:pt x="314" y="436"/>
                    </a:lnTo>
                    <a:lnTo>
                      <a:pt x="308" y="444"/>
                    </a:lnTo>
                    <a:lnTo>
                      <a:pt x="316" y="458"/>
                    </a:lnTo>
                    <a:lnTo>
                      <a:pt x="324" y="458"/>
                    </a:lnTo>
                    <a:lnTo>
                      <a:pt x="332" y="466"/>
                    </a:lnTo>
                    <a:lnTo>
                      <a:pt x="334" y="474"/>
                    </a:lnTo>
                    <a:lnTo>
                      <a:pt x="330" y="486"/>
                    </a:lnTo>
                    <a:lnTo>
                      <a:pt x="330" y="490"/>
                    </a:lnTo>
                    <a:lnTo>
                      <a:pt x="336" y="500"/>
                    </a:lnTo>
                    <a:lnTo>
                      <a:pt x="346" y="506"/>
                    </a:lnTo>
                    <a:lnTo>
                      <a:pt x="350" y="496"/>
                    </a:lnTo>
                    <a:lnTo>
                      <a:pt x="356" y="494"/>
                    </a:lnTo>
                    <a:lnTo>
                      <a:pt x="370" y="500"/>
                    </a:lnTo>
                    <a:lnTo>
                      <a:pt x="376" y="502"/>
                    </a:lnTo>
                    <a:lnTo>
                      <a:pt x="384" y="494"/>
                    </a:lnTo>
                    <a:lnTo>
                      <a:pt x="388" y="494"/>
                    </a:lnTo>
                    <a:lnTo>
                      <a:pt x="392" y="498"/>
                    </a:lnTo>
                    <a:lnTo>
                      <a:pt x="412" y="498"/>
                    </a:lnTo>
                    <a:lnTo>
                      <a:pt x="420" y="504"/>
                    </a:lnTo>
                    <a:lnTo>
                      <a:pt x="424" y="502"/>
                    </a:lnTo>
                    <a:lnTo>
                      <a:pt x="444" y="502"/>
                    </a:lnTo>
                    <a:lnTo>
                      <a:pt x="442" y="494"/>
                    </a:lnTo>
                    <a:lnTo>
                      <a:pt x="452" y="488"/>
                    </a:lnTo>
                    <a:lnTo>
                      <a:pt x="462" y="496"/>
                    </a:lnTo>
                    <a:lnTo>
                      <a:pt x="464" y="508"/>
                    </a:lnTo>
                    <a:lnTo>
                      <a:pt x="470" y="516"/>
                    </a:lnTo>
                    <a:lnTo>
                      <a:pt x="436" y="762"/>
                    </a:lnTo>
                    <a:lnTo>
                      <a:pt x="434" y="762"/>
                    </a:lnTo>
                    <a:lnTo>
                      <a:pt x="216" y="722"/>
                    </a:lnTo>
                    <a:lnTo>
                      <a:pt x="0" y="67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0DD649D0-B689-4DF1-AC4E-7026D4E931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70" y="1359"/>
                <a:ext cx="504" cy="775"/>
              </a:xfrm>
              <a:custGeom>
                <a:avLst/>
                <a:gdLst>
                  <a:gd name="T0" fmla="*/ 74 w 502"/>
                  <a:gd name="T1" fmla="*/ 0 h 772"/>
                  <a:gd name="T2" fmla="*/ 0 w 502"/>
                  <a:gd name="T3" fmla="*/ 295 h 772"/>
                  <a:gd name="T4" fmla="*/ 325 w 502"/>
                  <a:gd name="T5" fmla="*/ 775 h 772"/>
                  <a:gd name="T6" fmla="*/ 325 w 502"/>
                  <a:gd name="T7" fmla="*/ 771 h 772"/>
                  <a:gd name="T8" fmla="*/ 329 w 502"/>
                  <a:gd name="T9" fmla="*/ 763 h 772"/>
                  <a:gd name="T10" fmla="*/ 335 w 502"/>
                  <a:gd name="T11" fmla="*/ 743 h 772"/>
                  <a:gd name="T12" fmla="*/ 331 w 502"/>
                  <a:gd name="T13" fmla="*/ 735 h 772"/>
                  <a:gd name="T14" fmla="*/ 337 w 502"/>
                  <a:gd name="T15" fmla="*/ 689 h 772"/>
                  <a:gd name="T16" fmla="*/ 333 w 502"/>
                  <a:gd name="T17" fmla="*/ 671 h 772"/>
                  <a:gd name="T18" fmla="*/ 337 w 502"/>
                  <a:gd name="T19" fmla="*/ 665 h 772"/>
                  <a:gd name="T20" fmla="*/ 349 w 502"/>
                  <a:gd name="T21" fmla="*/ 663 h 772"/>
                  <a:gd name="T22" fmla="*/ 365 w 502"/>
                  <a:gd name="T23" fmla="*/ 667 h 772"/>
                  <a:gd name="T24" fmla="*/ 369 w 502"/>
                  <a:gd name="T25" fmla="*/ 673 h 772"/>
                  <a:gd name="T26" fmla="*/ 369 w 502"/>
                  <a:gd name="T27" fmla="*/ 677 h 772"/>
                  <a:gd name="T28" fmla="*/ 375 w 502"/>
                  <a:gd name="T29" fmla="*/ 683 h 772"/>
                  <a:gd name="T30" fmla="*/ 384 w 502"/>
                  <a:gd name="T31" fmla="*/ 683 h 772"/>
                  <a:gd name="T32" fmla="*/ 400 w 502"/>
                  <a:gd name="T33" fmla="*/ 640 h 772"/>
                  <a:gd name="T34" fmla="*/ 408 w 502"/>
                  <a:gd name="T35" fmla="*/ 588 h 772"/>
                  <a:gd name="T36" fmla="*/ 504 w 502"/>
                  <a:gd name="T37" fmla="*/ 94 h 772"/>
                  <a:gd name="T38" fmla="*/ 287 w 502"/>
                  <a:gd name="T39" fmla="*/ 50 h 772"/>
                  <a:gd name="T40" fmla="*/ 74 w 502"/>
                  <a:gd name="T41" fmla="*/ 0 h 77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02" h="772">
                    <a:moveTo>
                      <a:pt x="74" y="0"/>
                    </a:moveTo>
                    <a:lnTo>
                      <a:pt x="0" y="294"/>
                    </a:lnTo>
                    <a:lnTo>
                      <a:pt x="324" y="772"/>
                    </a:lnTo>
                    <a:lnTo>
                      <a:pt x="324" y="768"/>
                    </a:lnTo>
                    <a:lnTo>
                      <a:pt x="328" y="760"/>
                    </a:lnTo>
                    <a:lnTo>
                      <a:pt x="334" y="740"/>
                    </a:lnTo>
                    <a:lnTo>
                      <a:pt x="330" y="732"/>
                    </a:lnTo>
                    <a:lnTo>
                      <a:pt x="336" y="686"/>
                    </a:lnTo>
                    <a:lnTo>
                      <a:pt x="332" y="668"/>
                    </a:lnTo>
                    <a:lnTo>
                      <a:pt x="336" y="662"/>
                    </a:lnTo>
                    <a:lnTo>
                      <a:pt x="348" y="660"/>
                    </a:lnTo>
                    <a:lnTo>
                      <a:pt x="364" y="664"/>
                    </a:lnTo>
                    <a:lnTo>
                      <a:pt x="368" y="670"/>
                    </a:lnTo>
                    <a:lnTo>
                      <a:pt x="368" y="674"/>
                    </a:lnTo>
                    <a:lnTo>
                      <a:pt x="374" y="680"/>
                    </a:lnTo>
                    <a:lnTo>
                      <a:pt x="382" y="680"/>
                    </a:lnTo>
                    <a:lnTo>
                      <a:pt x="398" y="638"/>
                    </a:lnTo>
                    <a:lnTo>
                      <a:pt x="406" y="586"/>
                    </a:lnTo>
                    <a:lnTo>
                      <a:pt x="502" y="94"/>
                    </a:lnTo>
                    <a:lnTo>
                      <a:pt x="286" y="50"/>
                    </a:lnTo>
                    <a:lnTo>
                      <a:pt x="74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F622BCAF-5DE4-4403-81C6-7F8152D898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73" y="1612"/>
                <a:ext cx="574" cy="455"/>
              </a:xfrm>
              <a:custGeom>
                <a:avLst/>
                <a:gdLst>
                  <a:gd name="T0" fmla="*/ 0 w 572"/>
                  <a:gd name="T1" fmla="*/ 397 h 454"/>
                  <a:gd name="T2" fmla="*/ 54 w 572"/>
                  <a:gd name="T3" fmla="*/ 0 h 454"/>
                  <a:gd name="T4" fmla="*/ 425 w 572"/>
                  <a:gd name="T5" fmla="*/ 42 h 454"/>
                  <a:gd name="T6" fmla="*/ 574 w 572"/>
                  <a:gd name="T7" fmla="*/ 54 h 454"/>
                  <a:gd name="T8" fmla="*/ 568 w 572"/>
                  <a:gd name="T9" fmla="*/ 154 h 454"/>
                  <a:gd name="T10" fmla="*/ 550 w 572"/>
                  <a:gd name="T11" fmla="*/ 455 h 454"/>
                  <a:gd name="T12" fmla="*/ 474 w 572"/>
                  <a:gd name="T13" fmla="*/ 449 h 454"/>
                  <a:gd name="T14" fmla="*/ 0 w 572"/>
                  <a:gd name="T15" fmla="*/ 397 h 45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72" h="454">
                    <a:moveTo>
                      <a:pt x="0" y="396"/>
                    </a:moveTo>
                    <a:lnTo>
                      <a:pt x="54" y="0"/>
                    </a:lnTo>
                    <a:lnTo>
                      <a:pt x="424" y="42"/>
                    </a:lnTo>
                    <a:lnTo>
                      <a:pt x="572" y="54"/>
                    </a:lnTo>
                    <a:lnTo>
                      <a:pt x="566" y="154"/>
                    </a:lnTo>
                    <a:lnTo>
                      <a:pt x="548" y="454"/>
                    </a:lnTo>
                    <a:lnTo>
                      <a:pt x="472" y="448"/>
                    </a:lnTo>
                    <a:lnTo>
                      <a:pt x="0" y="39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B933F2D9-D386-4751-9FBC-F2B8ABA870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93" y="2008"/>
                <a:ext cx="553" cy="574"/>
              </a:xfrm>
              <a:custGeom>
                <a:avLst/>
                <a:gdLst>
                  <a:gd name="T0" fmla="*/ 80 w 552"/>
                  <a:gd name="T1" fmla="*/ 0 h 570"/>
                  <a:gd name="T2" fmla="*/ 0 w 552"/>
                  <a:gd name="T3" fmla="*/ 564 h 570"/>
                  <a:gd name="T4" fmla="*/ 0 w 552"/>
                  <a:gd name="T5" fmla="*/ 564 h 570"/>
                  <a:gd name="T6" fmla="*/ 72 w 552"/>
                  <a:gd name="T7" fmla="*/ 574 h 570"/>
                  <a:gd name="T8" fmla="*/ 78 w 552"/>
                  <a:gd name="T9" fmla="*/ 530 h 570"/>
                  <a:gd name="T10" fmla="*/ 214 w 552"/>
                  <a:gd name="T11" fmla="*/ 546 h 570"/>
                  <a:gd name="T12" fmla="*/ 214 w 552"/>
                  <a:gd name="T13" fmla="*/ 544 h 570"/>
                  <a:gd name="T14" fmla="*/ 210 w 552"/>
                  <a:gd name="T15" fmla="*/ 536 h 570"/>
                  <a:gd name="T16" fmla="*/ 214 w 552"/>
                  <a:gd name="T17" fmla="*/ 532 h 570"/>
                  <a:gd name="T18" fmla="*/ 212 w 552"/>
                  <a:gd name="T19" fmla="*/ 530 h 570"/>
                  <a:gd name="T20" fmla="*/ 210 w 552"/>
                  <a:gd name="T21" fmla="*/ 526 h 570"/>
                  <a:gd name="T22" fmla="*/ 212 w 552"/>
                  <a:gd name="T23" fmla="*/ 524 h 570"/>
                  <a:gd name="T24" fmla="*/ 509 w 552"/>
                  <a:gd name="T25" fmla="*/ 554 h 570"/>
                  <a:gd name="T26" fmla="*/ 545 w 552"/>
                  <a:gd name="T27" fmla="*/ 103 h 570"/>
                  <a:gd name="T28" fmla="*/ 551 w 552"/>
                  <a:gd name="T29" fmla="*/ 103 h 570"/>
                  <a:gd name="T30" fmla="*/ 553 w 552"/>
                  <a:gd name="T31" fmla="*/ 52 h 570"/>
                  <a:gd name="T32" fmla="*/ 80 w 552"/>
                  <a:gd name="T33" fmla="*/ 0 h 57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52" h="570">
                    <a:moveTo>
                      <a:pt x="80" y="0"/>
                    </a:moveTo>
                    <a:lnTo>
                      <a:pt x="0" y="560"/>
                    </a:lnTo>
                    <a:lnTo>
                      <a:pt x="72" y="570"/>
                    </a:lnTo>
                    <a:lnTo>
                      <a:pt x="78" y="526"/>
                    </a:lnTo>
                    <a:lnTo>
                      <a:pt x="214" y="542"/>
                    </a:lnTo>
                    <a:lnTo>
                      <a:pt x="214" y="540"/>
                    </a:lnTo>
                    <a:lnTo>
                      <a:pt x="210" y="532"/>
                    </a:lnTo>
                    <a:lnTo>
                      <a:pt x="214" y="528"/>
                    </a:lnTo>
                    <a:lnTo>
                      <a:pt x="212" y="526"/>
                    </a:lnTo>
                    <a:lnTo>
                      <a:pt x="210" y="522"/>
                    </a:lnTo>
                    <a:lnTo>
                      <a:pt x="212" y="520"/>
                    </a:lnTo>
                    <a:lnTo>
                      <a:pt x="508" y="550"/>
                    </a:lnTo>
                    <a:lnTo>
                      <a:pt x="544" y="102"/>
                    </a:lnTo>
                    <a:lnTo>
                      <a:pt x="550" y="102"/>
                    </a:lnTo>
                    <a:lnTo>
                      <a:pt x="552" y="52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B73E84C4-EA92-4B55-9A40-9DE2375D95D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98" y="1453"/>
                <a:ext cx="655" cy="322"/>
              </a:xfrm>
              <a:custGeom>
                <a:avLst/>
                <a:gdLst>
                  <a:gd name="T0" fmla="*/ 0 w 650"/>
                  <a:gd name="T1" fmla="*/ 200 h 322"/>
                  <a:gd name="T2" fmla="*/ 16 w 650"/>
                  <a:gd name="T3" fmla="*/ 0 h 322"/>
                  <a:gd name="T4" fmla="*/ 421 w 650"/>
                  <a:gd name="T5" fmla="*/ 22 h 322"/>
                  <a:gd name="T6" fmla="*/ 431 w 650"/>
                  <a:gd name="T7" fmla="*/ 38 h 322"/>
                  <a:gd name="T8" fmla="*/ 445 w 650"/>
                  <a:gd name="T9" fmla="*/ 38 h 322"/>
                  <a:gd name="T10" fmla="*/ 455 w 650"/>
                  <a:gd name="T11" fmla="*/ 34 h 322"/>
                  <a:gd name="T12" fmla="*/ 464 w 650"/>
                  <a:gd name="T13" fmla="*/ 40 h 322"/>
                  <a:gd name="T14" fmla="*/ 468 w 650"/>
                  <a:gd name="T15" fmla="*/ 52 h 322"/>
                  <a:gd name="T16" fmla="*/ 480 w 650"/>
                  <a:gd name="T17" fmla="*/ 56 h 322"/>
                  <a:gd name="T18" fmla="*/ 490 w 650"/>
                  <a:gd name="T19" fmla="*/ 52 h 322"/>
                  <a:gd name="T20" fmla="*/ 500 w 650"/>
                  <a:gd name="T21" fmla="*/ 46 h 322"/>
                  <a:gd name="T22" fmla="*/ 514 w 650"/>
                  <a:gd name="T23" fmla="*/ 46 h 322"/>
                  <a:gd name="T24" fmla="*/ 522 w 650"/>
                  <a:gd name="T25" fmla="*/ 48 h 322"/>
                  <a:gd name="T26" fmla="*/ 554 w 650"/>
                  <a:gd name="T27" fmla="*/ 68 h 322"/>
                  <a:gd name="T28" fmla="*/ 568 w 650"/>
                  <a:gd name="T29" fmla="*/ 80 h 322"/>
                  <a:gd name="T30" fmla="*/ 570 w 650"/>
                  <a:gd name="T31" fmla="*/ 90 h 322"/>
                  <a:gd name="T32" fmla="*/ 580 w 650"/>
                  <a:gd name="T33" fmla="*/ 96 h 322"/>
                  <a:gd name="T34" fmla="*/ 580 w 650"/>
                  <a:gd name="T35" fmla="*/ 102 h 322"/>
                  <a:gd name="T36" fmla="*/ 574 w 650"/>
                  <a:gd name="T37" fmla="*/ 116 h 322"/>
                  <a:gd name="T38" fmla="*/ 582 w 650"/>
                  <a:gd name="T39" fmla="*/ 124 h 322"/>
                  <a:gd name="T40" fmla="*/ 588 w 650"/>
                  <a:gd name="T41" fmla="*/ 140 h 322"/>
                  <a:gd name="T42" fmla="*/ 597 w 650"/>
                  <a:gd name="T43" fmla="*/ 148 h 322"/>
                  <a:gd name="T44" fmla="*/ 595 w 650"/>
                  <a:gd name="T45" fmla="*/ 156 h 322"/>
                  <a:gd name="T46" fmla="*/ 597 w 650"/>
                  <a:gd name="T47" fmla="*/ 164 h 322"/>
                  <a:gd name="T48" fmla="*/ 607 w 650"/>
                  <a:gd name="T49" fmla="*/ 172 h 322"/>
                  <a:gd name="T50" fmla="*/ 609 w 650"/>
                  <a:gd name="T51" fmla="*/ 180 h 322"/>
                  <a:gd name="T52" fmla="*/ 607 w 650"/>
                  <a:gd name="T53" fmla="*/ 188 h 322"/>
                  <a:gd name="T54" fmla="*/ 605 w 650"/>
                  <a:gd name="T55" fmla="*/ 204 h 322"/>
                  <a:gd name="T56" fmla="*/ 615 w 650"/>
                  <a:gd name="T57" fmla="*/ 208 h 322"/>
                  <a:gd name="T58" fmla="*/ 617 w 650"/>
                  <a:gd name="T59" fmla="*/ 216 h 322"/>
                  <a:gd name="T60" fmla="*/ 613 w 650"/>
                  <a:gd name="T61" fmla="*/ 224 h 322"/>
                  <a:gd name="T62" fmla="*/ 615 w 650"/>
                  <a:gd name="T63" fmla="*/ 232 h 322"/>
                  <a:gd name="T64" fmla="*/ 621 w 650"/>
                  <a:gd name="T65" fmla="*/ 240 h 322"/>
                  <a:gd name="T66" fmla="*/ 617 w 650"/>
                  <a:gd name="T67" fmla="*/ 248 h 322"/>
                  <a:gd name="T68" fmla="*/ 621 w 650"/>
                  <a:gd name="T69" fmla="*/ 258 h 322"/>
                  <a:gd name="T70" fmla="*/ 623 w 650"/>
                  <a:gd name="T71" fmla="*/ 262 h 322"/>
                  <a:gd name="T72" fmla="*/ 629 w 650"/>
                  <a:gd name="T73" fmla="*/ 272 h 322"/>
                  <a:gd name="T74" fmla="*/ 637 w 650"/>
                  <a:gd name="T75" fmla="*/ 280 h 322"/>
                  <a:gd name="T76" fmla="*/ 639 w 650"/>
                  <a:gd name="T77" fmla="*/ 294 h 322"/>
                  <a:gd name="T78" fmla="*/ 649 w 650"/>
                  <a:gd name="T79" fmla="*/ 306 h 322"/>
                  <a:gd name="T80" fmla="*/ 655 w 650"/>
                  <a:gd name="T81" fmla="*/ 308 h 322"/>
                  <a:gd name="T82" fmla="*/ 653 w 650"/>
                  <a:gd name="T83" fmla="*/ 320 h 322"/>
                  <a:gd name="T84" fmla="*/ 653 w 650"/>
                  <a:gd name="T85" fmla="*/ 322 h 322"/>
                  <a:gd name="T86" fmla="*/ 143 w 650"/>
                  <a:gd name="T87" fmla="*/ 312 h 322"/>
                  <a:gd name="T88" fmla="*/ 149 w 650"/>
                  <a:gd name="T89" fmla="*/ 212 h 322"/>
                  <a:gd name="T90" fmla="*/ 0 w 650"/>
                  <a:gd name="T91" fmla="*/ 200 h 322"/>
                  <a:gd name="T92" fmla="*/ 0 w 650"/>
                  <a:gd name="T93" fmla="*/ 200 h 32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50" h="322">
                    <a:moveTo>
                      <a:pt x="0" y="200"/>
                    </a:moveTo>
                    <a:lnTo>
                      <a:pt x="16" y="0"/>
                    </a:lnTo>
                    <a:lnTo>
                      <a:pt x="418" y="22"/>
                    </a:lnTo>
                    <a:lnTo>
                      <a:pt x="428" y="38"/>
                    </a:lnTo>
                    <a:lnTo>
                      <a:pt x="442" y="38"/>
                    </a:lnTo>
                    <a:lnTo>
                      <a:pt x="452" y="34"/>
                    </a:lnTo>
                    <a:lnTo>
                      <a:pt x="460" y="40"/>
                    </a:lnTo>
                    <a:lnTo>
                      <a:pt x="464" y="52"/>
                    </a:lnTo>
                    <a:lnTo>
                      <a:pt x="476" y="56"/>
                    </a:lnTo>
                    <a:lnTo>
                      <a:pt x="486" y="52"/>
                    </a:lnTo>
                    <a:lnTo>
                      <a:pt x="496" y="46"/>
                    </a:lnTo>
                    <a:lnTo>
                      <a:pt x="510" y="46"/>
                    </a:lnTo>
                    <a:lnTo>
                      <a:pt x="518" y="48"/>
                    </a:lnTo>
                    <a:lnTo>
                      <a:pt x="550" y="68"/>
                    </a:lnTo>
                    <a:lnTo>
                      <a:pt x="564" y="80"/>
                    </a:lnTo>
                    <a:lnTo>
                      <a:pt x="566" y="90"/>
                    </a:lnTo>
                    <a:lnTo>
                      <a:pt x="576" y="96"/>
                    </a:lnTo>
                    <a:lnTo>
                      <a:pt x="576" y="102"/>
                    </a:lnTo>
                    <a:lnTo>
                      <a:pt x="570" y="116"/>
                    </a:lnTo>
                    <a:lnTo>
                      <a:pt x="578" y="124"/>
                    </a:lnTo>
                    <a:lnTo>
                      <a:pt x="584" y="140"/>
                    </a:lnTo>
                    <a:lnTo>
                      <a:pt x="592" y="148"/>
                    </a:lnTo>
                    <a:lnTo>
                      <a:pt x="590" y="156"/>
                    </a:lnTo>
                    <a:lnTo>
                      <a:pt x="592" y="164"/>
                    </a:lnTo>
                    <a:lnTo>
                      <a:pt x="602" y="172"/>
                    </a:lnTo>
                    <a:lnTo>
                      <a:pt x="604" y="180"/>
                    </a:lnTo>
                    <a:lnTo>
                      <a:pt x="602" y="188"/>
                    </a:lnTo>
                    <a:lnTo>
                      <a:pt x="600" y="204"/>
                    </a:lnTo>
                    <a:lnTo>
                      <a:pt x="610" y="208"/>
                    </a:lnTo>
                    <a:lnTo>
                      <a:pt x="612" y="216"/>
                    </a:lnTo>
                    <a:lnTo>
                      <a:pt x="608" y="224"/>
                    </a:lnTo>
                    <a:lnTo>
                      <a:pt x="610" y="232"/>
                    </a:lnTo>
                    <a:lnTo>
                      <a:pt x="616" y="240"/>
                    </a:lnTo>
                    <a:lnTo>
                      <a:pt x="612" y="248"/>
                    </a:lnTo>
                    <a:lnTo>
                      <a:pt x="616" y="258"/>
                    </a:lnTo>
                    <a:lnTo>
                      <a:pt x="618" y="262"/>
                    </a:lnTo>
                    <a:lnTo>
                      <a:pt x="624" y="272"/>
                    </a:lnTo>
                    <a:lnTo>
                      <a:pt x="632" y="280"/>
                    </a:lnTo>
                    <a:lnTo>
                      <a:pt x="634" y="294"/>
                    </a:lnTo>
                    <a:lnTo>
                      <a:pt x="644" y="306"/>
                    </a:lnTo>
                    <a:lnTo>
                      <a:pt x="650" y="308"/>
                    </a:lnTo>
                    <a:lnTo>
                      <a:pt x="648" y="320"/>
                    </a:lnTo>
                    <a:lnTo>
                      <a:pt x="648" y="322"/>
                    </a:lnTo>
                    <a:lnTo>
                      <a:pt x="142" y="312"/>
                    </a:lnTo>
                    <a:lnTo>
                      <a:pt x="148" y="212"/>
                    </a:lnTo>
                    <a:lnTo>
                      <a:pt x="0" y="2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4E223189-0F41-44E5-9F4C-6AD0CAE2D0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24" y="1766"/>
                <a:ext cx="586" cy="312"/>
              </a:xfrm>
              <a:custGeom>
                <a:avLst/>
                <a:gdLst>
                  <a:gd name="T0" fmla="*/ 18 w 584"/>
                  <a:gd name="T1" fmla="*/ 0 h 312"/>
                  <a:gd name="T2" fmla="*/ 526 w 584"/>
                  <a:gd name="T3" fmla="*/ 10 h 312"/>
                  <a:gd name="T4" fmla="*/ 560 w 584"/>
                  <a:gd name="T5" fmla="*/ 36 h 312"/>
                  <a:gd name="T6" fmla="*/ 550 w 584"/>
                  <a:gd name="T7" fmla="*/ 48 h 312"/>
                  <a:gd name="T8" fmla="*/ 548 w 584"/>
                  <a:gd name="T9" fmla="*/ 60 h 312"/>
                  <a:gd name="T10" fmla="*/ 552 w 584"/>
                  <a:gd name="T11" fmla="*/ 66 h 312"/>
                  <a:gd name="T12" fmla="*/ 560 w 584"/>
                  <a:gd name="T13" fmla="*/ 70 h 312"/>
                  <a:gd name="T14" fmla="*/ 566 w 584"/>
                  <a:gd name="T15" fmla="*/ 88 h 312"/>
                  <a:gd name="T16" fmla="*/ 574 w 584"/>
                  <a:gd name="T17" fmla="*/ 92 h 312"/>
                  <a:gd name="T18" fmla="*/ 580 w 584"/>
                  <a:gd name="T19" fmla="*/ 94 h 312"/>
                  <a:gd name="T20" fmla="*/ 584 w 584"/>
                  <a:gd name="T21" fmla="*/ 96 h 312"/>
                  <a:gd name="T22" fmla="*/ 586 w 584"/>
                  <a:gd name="T23" fmla="*/ 312 h 312"/>
                  <a:gd name="T24" fmla="*/ 0 w 584"/>
                  <a:gd name="T25" fmla="*/ 300 h 312"/>
                  <a:gd name="T26" fmla="*/ 18 w 584"/>
                  <a:gd name="T27" fmla="*/ 0 h 31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84" h="312">
                    <a:moveTo>
                      <a:pt x="18" y="0"/>
                    </a:moveTo>
                    <a:lnTo>
                      <a:pt x="524" y="10"/>
                    </a:lnTo>
                    <a:lnTo>
                      <a:pt x="558" y="36"/>
                    </a:lnTo>
                    <a:lnTo>
                      <a:pt x="548" y="48"/>
                    </a:lnTo>
                    <a:lnTo>
                      <a:pt x="546" y="60"/>
                    </a:lnTo>
                    <a:lnTo>
                      <a:pt x="550" y="66"/>
                    </a:lnTo>
                    <a:lnTo>
                      <a:pt x="558" y="70"/>
                    </a:lnTo>
                    <a:lnTo>
                      <a:pt x="564" y="88"/>
                    </a:lnTo>
                    <a:lnTo>
                      <a:pt x="572" y="92"/>
                    </a:lnTo>
                    <a:lnTo>
                      <a:pt x="578" y="94"/>
                    </a:lnTo>
                    <a:lnTo>
                      <a:pt x="582" y="96"/>
                    </a:lnTo>
                    <a:lnTo>
                      <a:pt x="584" y="312"/>
                    </a:lnTo>
                    <a:lnTo>
                      <a:pt x="0" y="30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E9B0606C-2640-47B0-B313-8918704D7C3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9" y="1708"/>
                <a:ext cx="532" cy="457"/>
              </a:xfrm>
              <a:custGeom>
                <a:avLst/>
                <a:gdLst>
                  <a:gd name="T0" fmla="*/ 447 w 528"/>
                  <a:gd name="T1" fmla="*/ 405 h 456"/>
                  <a:gd name="T2" fmla="*/ 453 w 528"/>
                  <a:gd name="T3" fmla="*/ 415 h 456"/>
                  <a:gd name="T4" fmla="*/ 455 w 528"/>
                  <a:gd name="T5" fmla="*/ 431 h 456"/>
                  <a:gd name="T6" fmla="*/ 435 w 528"/>
                  <a:gd name="T7" fmla="*/ 451 h 456"/>
                  <a:gd name="T8" fmla="*/ 488 w 528"/>
                  <a:gd name="T9" fmla="*/ 453 h 456"/>
                  <a:gd name="T10" fmla="*/ 490 w 528"/>
                  <a:gd name="T11" fmla="*/ 433 h 456"/>
                  <a:gd name="T12" fmla="*/ 500 w 528"/>
                  <a:gd name="T13" fmla="*/ 403 h 456"/>
                  <a:gd name="T14" fmla="*/ 516 w 528"/>
                  <a:gd name="T15" fmla="*/ 391 h 456"/>
                  <a:gd name="T16" fmla="*/ 524 w 528"/>
                  <a:gd name="T17" fmla="*/ 389 h 456"/>
                  <a:gd name="T18" fmla="*/ 530 w 528"/>
                  <a:gd name="T19" fmla="*/ 355 h 456"/>
                  <a:gd name="T20" fmla="*/ 522 w 528"/>
                  <a:gd name="T21" fmla="*/ 351 h 456"/>
                  <a:gd name="T22" fmla="*/ 520 w 528"/>
                  <a:gd name="T23" fmla="*/ 347 h 456"/>
                  <a:gd name="T24" fmla="*/ 514 w 528"/>
                  <a:gd name="T25" fmla="*/ 351 h 456"/>
                  <a:gd name="T26" fmla="*/ 494 w 528"/>
                  <a:gd name="T27" fmla="*/ 325 h 456"/>
                  <a:gd name="T28" fmla="*/ 500 w 528"/>
                  <a:gd name="T29" fmla="*/ 315 h 456"/>
                  <a:gd name="T30" fmla="*/ 494 w 528"/>
                  <a:gd name="T31" fmla="*/ 303 h 456"/>
                  <a:gd name="T32" fmla="*/ 468 w 528"/>
                  <a:gd name="T33" fmla="*/ 265 h 456"/>
                  <a:gd name="T34" fmla="*/ 433 w 528"/>
                  <a:gd name="T35" fmla="*/ 249 h 456"/>
                  <a:gd name="T36" fmla="*/ 415 w 528"/>
                  <a:gd name="T37" fmla="*/ 224 h 456"/>
                  <a:gd name="T38" fmla="*/ 433 w 528"/>
                  <a:gd name="T39" fmla="*/ 200 h 456"/>
                  <a:gd name="T40" fmla="*/ 435 w 528"/>
                  <a:gd name="T41" fmla="*/ 174 h 456"/>
                  <a:gd name="T42" fmla="*/ 413 w 528"/>
                  <a:gd name="T43" fmla="*/ 158 h 456"/>
                  <a:gd name="T44" fmla="*/ 399 w 528"/>
                  <a:gd name="T45" fmla="*/ 170 h 456"/>
                  <a:gd name="T46" fmla="*/ 383 w 528"/>
                  <a:gd name="T47" fmla="*/ 130 h 456"/>
                  <a:gd name="T48" fmla="*/ 353 w 528"/>
                  <a:gd name="T49" fmla="*/ 106 h 456"/>
                  <a:gd name="T50" fmla="*/ 330 w 528"/>
                  <a:gd name="T51" fmla="*/ 72 h 456"/>
                  <a:gd name="T52" fmla="*/ 322 w 528"/>
                  <a:gd name="T53" fmla="*/ 38 h 456"/>
                  <a:gd name="T54" fmla="*/ 326 w 528"/>
                  <a:gd name="T55" fmla="*/ 22 h 456"/>
                  <a:gd name="T56" fmla="*/ 0 w 528"/>
                  <a:gd name="T57" fmla="*/ 8 h 456"/>
                  <a:gd name="T58" fmla="*/ 14 w 528"/>
                  <a:gd name="T59" fmla="*/ 26 h 456"/>
                  <a:gd name="T60" fmla="*/ 26 w 528"/>
                  <a:gd name="T61" fmla="*/ 52 h 456"/>
                  <a:gd name="T62" fmla="*/ 30 w 528"/>
                  <a:gd name="T63" fmla="*/ 66 h 456"/>
                  <a:gd name="T64" fmla="*/ 64 w 528"/>
                  <a:gd name="T65" fmla="*/ 94 h 456"/>
                  <a:gd name="T66" fmla="*/ 52 w 528"/>
                  <a:gd name="T67" fmla="*/ 118 h 456"/>
                  <a:gd name="T68" fmla="*/ 64 w 528"/>
                  <a:gd name="T69" fmla="*/ 128 h 456"/>
                  <a:gd name="T70" fmla="*/ 79 w 528"/>
                  <a:gd name="T71" fmla="*/ 150 h 456"/>
                  <a:gd name="T72" fmla="*/ 89 w 528"/>
                  <a:gd name="T73" fmla="*/ 154 h 456"/>
                  <a:gd name="T74" fmla="*/ 93 w 528"/>
                  <a:gd name="T75" fmla="*/ 421 h 45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528" h="456">
                    <a:moveTo>
                      <a:pt x="92" y="420"/>
                    </a:moveTo>
                    <a:lnTo>
                      <a:pt x="444" y="404"/>
                    </a:lnTo>
                    <a:lnTo>
                      <a:pt x="442" y="408"/>
                    </a:lnTo>
                    <a:lnTo>
                      <a:pt x="450" y="414"/>
                    </a:lnTo>
                    <a:lnTo>
                      <a:pt x="454" y="422"/>
                    </a:lnTo>
                    <a:lnTo>
                      <a:pt x="452" y="430"/>
                    </a:lnTo>
                    <a:lnTo>
                      <a:pt x="442" y="438"/>
                    </a:lnTo>
                    <a:lnTo>
                      <a:pt x="432" y="450"/>
                    </a:lnTo>
                    <a:lnTo>
                      <a:pt x="430" y="456"/>
                    </a:lnTo>
                    <a:lnTo>
                      <a:pt x="484" y="452"/>
                    </a:lnTo>
                    <a:lnTo>
                      <a:pt x="488" y="438"/>
                    </a:lnTo>
                    <a:lnTo>
                      <a:pt x="486" y="432"/>
                    </a:lnTo>
                    <a:lnTo>
                      <a:pt x="490" y="416"/>
                    </a:lnTo>
                    <a:lnTo>
                      <a:pt x="496" y="402"/>
                    </a:lnTo>
                    <a:lnTo>
                      <a:pt x="502" y="394"/>
                    </a:lnTo>
                    <a:lnTo>
                      <a:pt x="512" y="390"/>
                    </a:lnTo>
                    <a:lnTo>
                      <a:pt x="516" y="392"/>
                    </a:lnTo>
                    <a:lnTo>
                      <a:pt x="520" y="388"/>
                    </a:lnTo>
                    <a:lnTo>
                      <a:pt x="528" y="364"/>
                    </a:lnTo>
                    <a:lnTo>
                      <a:pt x="526" y="354"/>
                    </a:lnTo>
                    <a:lnTo>
                      <a:pt x="520" y="352"/>
                    </a:lnTo>
                    <a:lnTo>
                      <a:pt x="518" y="350"/>
                    </a:lnTo>
                    <a:lnTo>
                      <a:pt x="518" y="348"/>
                    </a:lnTo>
                    <a:lnTo>
                      <a:pt x="516" y="346"/>
                    </a:lnTo>
                    <a:lnTo>
                      <a:pt x="510" y="346"/>
                    </a:lnTo>
                    <a:lnTo>
                      <a:pt x="510" y="350"/>
                    </a:lnTo>
                    <a:lnTo>
                      <a:pt x="506" y="352"/>
                    </a:lnTo>
                    <a:lnTo>
                      <a:pt x="490" y="324"/>
                    </a:lnTo>
                    <a:lnTo>
                      <a:pt x="490" y="320"/>
                    </a:lnTo>
                    <a:lnTo>
                      <a:pt x="496" y="314"/>
                    </a:lnTo>
                    <a:lnTo>
                      <a:pt x="498" y="310"/>
                    </a:lnTo>
                    <a:lnTo>
                      <a:pt x="490" y="302"/>
                    </a:lnTo>
                    <a:lnTo>
                      <a:pt x="486" y="284"/>
                    </a:lnTo>
                    <a:lnTo>
                      <a:pt x="464" y="264"/>
                    </a:lnTo>
                    <a:lnTo>
                      <a:pt x="452" y="262"/>
                    </a:lnTo>
                    <a:lnTo>
                      <a:pt x="430" y="248"/>
                    </a:lnTo>
                    <a:lnTo>
                      <a:pt x="418" y="234"/>
                    </a:lnTo>
                    <a:lnTo>
                      <a:pt x="412" y="224"/>
                    </a:lnTo>
                    <a:lnTo>
                      <a:pt x="416" y="218"/>
                    </a:lnTo>
                    <a:lnTo>
                      <a:pt x="430" y="200"/>
                    </a:lnTo>
                    <a:lnTo>
                      <a:pt x="428" y="186"/>
                    </a:lnTo>
                    <a:lnTo>
                      <a:pt x="432" y="174"/>
                    </a:lnTo>
                    <a:lnTo>
                      <a:pt x="428" y="168"/>
                    </a:lnTo>
                    <a:lnTo>
                      <a:pt x="410" y="158"/>
                    </a:lnTo>
                    <a:lnTo>
                      <a:pt x="404" y="162"/>
                    </a:lnTo>
                    <a:lnTo>
                      <a:pt x="396" y="170"/>
                    </a:lnTo>
                    <a:lnTo>
                      <a:pt x="392" y="166"/>
                    </a:lnTo>
                    <a:lnTo>
                      <a:pt x="380" y="130"/>
                    </a:lnTo>
                    <a:lnTo>
                      <a:pt x="374" y="124"/>
                    </a:lnTo>
                    <a:lnTo>
                      <a:pt x="350" y="106"/>
                    </a:lnTo>
                    <a:lnTo>
                      <a:pt x="328" y="80"/>
                    </a:lnTo>
                    <a:lnTo>
                      <a:pt x="328" y="72"/>
                    </a:lnTo>
                    <a:lnTo>
                      <a:pt x="320" y="56"/>
                    </a:lnTo>
                    <a:lnTo>
                      <a:pt x="320" y="38"/>
                    </a:lnTo>
                    <a:lnTo>
                      <a:pt x="324" y="26"/>
                    </a:lnTo>
                    <a:lnTo>
                      <a:pt x="324" y="22"/>
                    </a:lnTo>
                    <a:lnTo>
                      <a:pt x="300" y="0"/>
                    </a:lnTo>
                    <a:lnTo>
                      <a:pt x="0" y="8"/>
                    </a:lnTo>
                    <a:lnTo>
                      <a:pt x="6" y="18"/>
                    </a:lnTo>
                    <a:lnTo>
                      <a:pt x="14" y="26"/>
                    </a:lnTo>
                    <a:lnTo>
                      <a:pt x="16" y="40"/>
                    </a:lnTo>
                    <a:lnTo>
                      <a:pt x="26" y="52"/>
                    </a:lnTo>
                    <a:lnTo>
                      <a:pt x="32" y="54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64" y="94"/>
                    </a:lnTo>
                    <a:lnTo>
                      <a:pt x="54" y="106"/>
                    </a:lnTo>
                    <a:lnTo>
                      <a:pt x="52" y="118"/>
                    </a:lnTo>
                    <a:lnTo>
                      <a:pt x="56" y="124"/>
                    </a:lnTo>
                    <a:lnTo>
                      <a:pt x="64" y="128"/>
                    </a:lnTo>
                    <a:lnTo>
                      <a:pt x="70" y="146"/>
                    </a:lnTo>
                    <a:lnTo>
                      <a:pt x="78" y="150"/>
                    </a:lnTo>
                    <a:lnTo>
                      <a:pt x="84" y="152"/>
                    </a:lnTo>
                    <a:lnTo>
                      <a:pt x="88" y="154"/>
                    </a:lnTo>
                    <a:lnTo>
                      <a:pt x="90" y="370"/>
                    </a:lnTo>
                    <a:lnTo>
                      <a:pt x="92" y="42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" name="Freeform 14">
                <a:extLst>
                  <a:ext uri="{FF2B5EF4-FFF2-40B4-BE49-F238E27FC236}">
                    <a16:creationId xmlns:a16="http://schemas.microsoft.com/office/drawing/2014/main" id="{D2806E5D-1823-4563-A180-6363472721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61" y="2468"/>
                <a:ext cx="453" cy="389"/>
              </a:xfrm>
              <a:custGeom>
                <a:avLst/>
                <a:gdLst>
                  <a:gd name="T0" fmla="*/ 243 w 448"/>
                  <a:gd name="T1" fmla="*/ 8 h 388"/>
                  <a:gd name="T2" fmla="*/ 259 w 448"/>
                  <a:gd name="T3" fmla="*/ 58 h 388"/>
                  <a:gd name="T4" fmla="*/ 255 w 448"/>
                  <a:gd name="T5" fmla="*/ 78 h 388"/>
                  <a:gd name="T6" fmla="*/ 231 w 448"/>
                  <a:gd name="T7" fmla="*/ 126 h 388"/>
                  <a:gd name="T8" fmla="*/ 372 w 448"/>
                  <a:gd name="T9" fmla="*/ 192 h 388"/>
                  <a:gd name="T10" fmla="*/ 372 w 448"/>
                  <a:gd name="T11" fmla="*/ 235 h 388"/>
                  <a:gd name="T12" fmla="*/ 370 w 448"/>
                  <a:gd name="T13" fmla="*/ 267 h 388"/>
                  <a:gd name="T14" fmla="*/ 338 w 448"/>
                  <a:gd name="T15" fmla="*/ 259 h 388"/>
                  <a:gd name="T16" fmla="*/ 330 w 448"/>
                  <a:gd name="T17" fmla="*/ 287 h 388"/>
                  <a:gd name="T18" fmla="*/ 364 w 448"/>
                  <a:gd name="T19" fmla="*/ 281 h 388"/>
                  <a:gd name="T20" fmla="*/ 386 w 448"/>
                  <a:gd name="T21" fmla="*/ 277 h 388"/>
                  <a:gd name="T22" fmla="*/ 378 w 448"/>
                  <a:gd name="T23" fmla="*/ 291 h 388"/>
                  <a:gd name="T24" fmla="*/ 390 w 448"/>
                  <a:gd name="T25" fmla="*/ 301 h 388"/>
                  <a:gd name="T26" fmla="*/ 419 w 448"/>
                  <a:gd name="T27" fmla="*/ 279 h 388"/>
                  <a:gd name="T28" fmla="*/ 433 w 448"/>
                  <a:gd name="T29" fmla="*/ 281 h 388"/>
                  <a:gd name="T30" fmla="*/ 431 w 448"/>
                  <a:gd name="T31" fmla="*/ 297 h 388"/>
                  <a:gd name="T32" fmla="*/ 398 w 448"/>
                  <a:gd name="T33" fmla="*/ 329 h 388"/>
                  <a:gd name="T34" fmla="*/ 419 w 448"/>
                  <a:gd name="T35" fmla="*/ 355 h 388"/>
                  <a:gd name="T36" fmla="*/ 449 w 448"/>
                  <a:gd name="T37" fmla="*/ 379 h 388"/>
                  <a:gd name="T38" fmla="*/ 419 w 448"/>
                  <a:gd name="T39" fmla="*/ 371 h 388"/>
                  <a:gd name="T40" fmla="*/ 376 w 448"/>
                  <a:gd name="T41" fmla="*/ 347 h 388"/>
                  <a:gd name="T42" fmla="*/ 360 w 448"/>
                  <a:gd name="T43" fmla="*/ 365 h 388"/>
                  <a:gd name="T44" fmla="*/ 350 w 448"/>
                  <a:gd name="T45" fmla="*/ 381 h 388"/>
                  <a:gd name="T46" fmla="*/ 334 w 448"/>
                  <a:gd name="T47" fmla="*/ 369 h 388"/>
                  <a:gd name="T48" fmla="*/ 318 w 448"/>
                  <a:gd name="T49" fmla="*/ 369 h 388"/>
                  <a:gd name="T50" fmla="*/ 287 w 448"/>
                  <a:gd name="T51" fmla="*/ 377 h 388"/>
                  <a:gd name="T52" fmla="*/ 241 w 448"/>
                  <a:gd name="T53" fmla="*/ 347 h 388"/>
                  <a:gd name="T54" fmla="*/ 222 w 448"/>
                  <a:gd name="T55" fmla="*/ 333 h 388"/>
                  <a:gd name="T56" fmla="*/ 218 w 448"/>
                  <a:gd name="T57" fmla="*/ 327 h 388"/>
                  <a:gd name="T58" fmla="*/ 200 w 448"/>
                  <a:gd name="T59" fmla="*/ 325 h 388"/>
                  <a:gd name="T60" fmla="*/ 192 w 448"/>
                  <a:gd name="T61" fmla="*/ 317 h 388"/>
                  <a:gd name="T62" fmla="*/ 180 w 448"/>
                  <a:gd name="T63" fmla="*/ 343 h 388"/>
                  <a:gd name="T64" fmla="*/ 83 w 448"/>
                  <a:gd name="T65" fmla="*/ 327 h 388"/>
                  <a:gd name="T66" fmla="*/ 18 w 448"/>
                  <a:gd name="T67" fmla="*/ 325 h 388"/>
                  <a:gd name="T68" fmla="*/ 30 w 448"/>
                  <a:gd name="T69" fmla="*/ 309 h 388"/>
                  <a:gd name="T70" fmla="*/ 32 w 448"/>
                  <a:gd name="T71" fmla="*/ 271 h 388"/>
                  <a:gd name="T72" fmla="*/ 36 w 448"/>
                  <a:gd name="T73" fmla="*/ 249 h 388"/>
                  <a:gd name="T74" fmla="*/ 49 w 448"/>
                  <a:gd name="T75" fmla="*/ 215 h 388"/>
                  <a:gd name="T76" fmla="*/ 38 w 448"/>
                  <a:gd name="T77" fmla="*/ 178 h 388"/>
                  <a:gd name="T78" fmla="*/ 34 w 448"/>
                  <a:gd name="T79" fmla="*/ 166 h 388"/>
                  <a:gd name="T80" fmla="*/ 22 w 448"/>
                  <a:gd name="T81" fmla="*/ 148 h 388"/>
                  <a:gd name="T82" fmla="*/ 6 w 448"/>
                  <a:gd name="T83" fmla="*/ 112 h 38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448" h="388">
                    <a:moveTo>
                      <a:pt x="0" y="6"/>
                    </a:moveTo>
                    <a:lnTo>
                      <a:pt x="240" y="0"/>
                    </a:lnTo>
                    <a:lnTo>
                      <a:pt x="240" y="8"/>
                    </a:lnTo>
                    <a:lnTo>
                      <a:pt x="250" y="28"/>
                    </a:lnTo>
                    <a:lnTo>
                      <a:pt x="250" y="46"/>
                    </a:lnTo>
                    <a:lnTo>
                      <a:pt x="256" y="58"/>
                    </a:lnTo>
                    <a:lnTo>
                      <a:pt x="262" y="62"/>
                    </a:lnTo>
                    <a:lnTo>
                      <a:pt x="262" y="72"/>
                    </a:lnTo>
                    <a:lnTo>
                      <a:pt x="252" y="78"/>
                    </a:lnTo>
                    <a:lnTo>
                      <a:pt x="248" y="82"/>
                    </a:lnTo>
                    <a:lnTo>
                      <a:pt x="244" y="102"/>
                    </a:lnTo>
                    <a:lnTo>
                      <a:pt x="228" y="126"/>
                    </a:lnTo>
                    <a:lnTo>
                      <a:pt x="214" y="168"/>
                    </a:lnTo>
                    <a:lnTo>
                      <a:pt x="214" y="198"/>
                    </a:lnTo>
                    <a:lnTo>
                      <a:pt x="368" y="192"/>
                    </a:lnTo>
                    <a:lnTo>
                      <a:pt x="372" y="198"/>
                    </a:lnTo>
                    <a:lnTo>
                      <a:pt x="368" y="212"/>
                    </a:lnTo>
                    <a:lnTo>
                      <a:pt x="368" y="234"/>
                    </a:lnTo>
                    <a:lnTo>
                      <a:pt x="386" y="250"/>
                    </a:lnTo>
                    <a:lnTo>
                      <a:pt x="388" y="270"/>
                    </a:lnTo>
                    <a:lnTo>
                      <a:pt x="366" y="266"/>
                    </a:lnTo>
                    <a:lnTo>
                      <a:pt x="346" y="256"/>
                    </a:lnTo>
                    <a:lnTo>
                      <a:pt x="342" y="254"/>
                    </a:lnTo>
                    <a:lnTo>
                      <a:pt x="334" y="258"/>
                    </a:lnTo>
                    <a:lnTo>
                      <a:pt x="320" y="272"/>
                    </a:lnTo>
                    <a:lnTo>
                      <a:pt x="320" y="278"/>
                    </a:lnTo>
                    <a:lnTo>
                      <a:pt x="326" y="286"/>
                    </a:lnTo>
                    <a:lnTo>
                      <a:pt x="334" y="288"/>
                    </a:lnTo>
                    <a:lnTo>
                      <a:pt x="350" y="286"/>
                    </a:lnTo>
                    <a:lnTo>
                      <a:pt x="360" y="280"/>
                    </a:lnTo>
                    <a:lnTo>
                      <a:pt x="366" y="276"/>
                    </a:lnTo>
                    <a:lnTo>
                      <a:pt x="376" y="278"/>
                    </a:lnTo>
                    <a:lnTo>
                      <a:pt x="382" y="276"/>
                    </a:lnTo>
                    <a:lnTo>
                      <a:pt x="382" y="280"/>
                    </a:lnTo>
                    <a:lnTo>
                      <a:pt x="380" y="284"/>
                    </a:lnTo>
                    <a:lnTo>
                      <a:pt x="374" y="290"/>
                    </a:lnTo>
                    <a:lnTo>
                      <a:pt x="374" y="296"/>
                    </a:lnTo>
                    <a:lnTo>
                      <a:pt x="380" y="300"/>
                    </a:lnTo>
                    <a:lnTo>
                      <a:pt x="386" y="300"/>
                    </a:lnTo>
                    <a:lnTo>
                      <a:pt x="390" y="296"/>
                    </a:lnTo>
                    <a:lnTo>
                      <a:pt x="398" y="284"/>
                    </a:lnTo>
                    <a:lnTo>
                      <a:pt x="414" y="278"/>
                    </a:lnTo>
                    <a:lnTo>
                      <a:pt x="420" y="274"/>
                    </a:lnTo>
                    <a:lnTo>
                      <a:pt x="424" y="274"/>
                    </a:lnTo>
                    <a:lnTo>
                      <a:pt x="428" y="280"/>
                    </a:lnTo>
                    <a:lnTo>
                      <a:pt x="426" y="286"/>
                    </a:lnTo>
                    <a:lnTo>
                      <a:pt x="428" y="290"/>
                    </a:lnTo>
                    <a:lnTo>
                      <a:pt x="426" y="296"/>
                    </a:lnTo>
                    <a:lnTo>
                      <a:pt x="420" y="302"/>
                    </a:lnTo>
                    <a:lnTo>
                      <a:pt x="406" y="318"/>
                    </a:lnTo>
                    <a:lnTo>
                      <a:pt x="394" y="328"/>
                    </a:lnTo>
                    <a:lnTo>
                      <a:pt x="394" y="336"/>
                    </a:lnTo>
                    <a:lnTo>
                      <a:pt x="398" y="344"/>
                    </a:lnTo>
                    <a:lnTo>
                      <a:pt x="414" y="354"/>
                    </a:lnTo>
                    <a:lnTo>
                      <a:pt x="444" y="366"/>
                    </a:lnTo>
                    <a:lnTo>
                      <a:pt x="448" y="370"/>
                    </a:lnTo>
                    <a:lnTo>
                      <a:pt x="444" y="378"/>
                    </a:lnTo>
                    <a:lnTo>
                      <a:pt x="440" y="380"/>
                    </a:lnTo>
                    <a:lnTo>
                      <a:pt x="416" y="388"/>
                    </a:lnTo>
                    <a:lnTo>
                      <a:pt x="414" y="370"/>
                    </a:lnTo>
                    <a:lnTo>
                      <a:pt x="400" y="364"/>
                    </a:lnTo>
                    <a:lnTo>
                      <a:pt x="376" y="354"/>
                    </a:lnTo>
                    <a:lnTo>
                      <a:pt x="372" y="346"/>
                    </a:lnTo>
                    <a:lnTo>
                      <a:pt x="366" y="342"/>
                    </a:lnTo>
                    <a:lnTo>
                      <a:pt x="360" y="346"/>
                    </a:lnTo>
                    <a:lnTo>
                      <a:pt x="356" y="364"/>
                    </a:lnTo>
                    <a:lnTo>
                      <a:pt x="360" y="366"/>
                    </a:lnTo>
                    <a:lnTo>
                      <a:pt x="360" y="370"/>
                    </a:lnTo>
                    <a:lnTo>
                      <a:pt x="346" y="380"/>
                    </a:lnTo>
                    <a:lnTo>
                      <a:pt x="342" y="378"/>
                    </a:lnTo>
                    <a:lnTo>
                      <a:pt x="334" y="368"/>
                    </a:lnTo>
                    <a:lnTo>
                      <a:pt x="330" y="368"/>
                    </a:lnTo>
                    <a:lnTo>
                      <a:pt x="322" y="370"/>
                    </a:lnTo>
                    <a:lnTo>
                      <a:pt x="318" y="366"/>
                    </a:lnTo>
                    <a:lnTo>
                      <a:pt x="314" y="368"/>
                    </a:lnTo>
                    <a:lnTo>
                      <a:pt x="302" y="380"/>
                    </a:lnTo>
                    <a:lnTo>
                      <a:pt x="288" y="380"/>
                    </a:lnTo>
                    <a:lnTo>
                      <a:pt x="284" y="376"/>
                    </a:lnTo>
                    <a:lnTo>
                      <a:pt x="270" y="374"/>
                    </a:lnTo>
                    <a:lnTo>
                      <a:pt x="250" y="348"/>
                    </a:lnTo>
                    <a:lnTo>
                      <a:pt x="238" y="346"/>
                    </a:lnTo>
                    <a:lnTo>
                      <a:pt x="226" y="342"/>
                    </a:lnTo>
                    <a:lnTo>
                      <a:pt x="222" y="334"/>
                    </a:lnTo>
                    <a:lnTo>
                      <a:pt x="220" y="332"/>
                    </a:lnTo>
                    <a:lnTo>
                      <a:pt x="216" y="332"/>
                    </a:lnTo>
                    <a:lnTo>
                      <a:pt x="216" y="330"/>
                    </a:lnTo>
                    <a:lnTo>
                      <a:pt x="216" y="326"/>
                    </a:lnTo>
                    <a:lnTo>
                      <a:pt x="212" y="324"/>
                    </a:lnTo>
                    <a:lnTo>
                      <a:pt x="208" y="326"/>
                    </a:lnTo>
                    <a:lnTo>
                      <a:pt x="198" y="324"/>
                    </a:lnTo>
                    <a:lnTo>
                      <a:pt x="198" y="322"/>
                    </a:lnTo>
                    <a:lnTo>
                      <a:pt x="196" y="316"/>
                    </a:lnTo>
                    <a:lnTo>
                      <a:pt x="190" y="316"/>
                    </a:lnTo>
                    <a:lnTo>
                      <a:pt x="174" y="330"/>
                    </a:lnTo>
                    <a:lnTo>
                      <a:pt x="182" y="340"/>
                    </a:lnTo>
                    <a:lnTo>
                      <a:pt x="178" y="342"/>
                    </a:lnTo>
                    <a:lnTo>
                      <a:pt x="152" y="344"/>
                    </a:lnTo>
                    <a:lnTo>
                      <a:pt x="108" y="334"/>
                    </a:lnTo>
                    <a:lnTo>
                      <a:pt x="82" y="326"/>
                    </a:lnTo>
                    <a:lnTo>
                      <a:pt x="24" y="334"/>
                    </a:lnTo>
                    <a:lnTo>
                      <a:pt x="20" y="330"/>
                    </a:lnTo>
                    <a:lnTo>
                      <a:pt x="18" y="324"/>
                    </a:lnTo>
                    <a:lnTo>
                      <a:pt x="22" y="320"/>
                    </a:lnTo>
                    <a:lnTo>
                      <a:pt x="24" y="314"/>
                    </a:lnTo>
                    <a:lnTo>
                      <a:pt x="30" y="308"/>
                    </a:lnTo>
                    <a:lnTo>
                      <a:pt x="36" y="286"/>
                    </a:lnTo>
                    <a:lnTo>
                      <a:pt x="32" y="278"/>
                    </a:lnTo>
                    <a:lnTo>
                      <a:pt x="32" y="270"/>
                    </a:lnTo>
                    <a:lnTo>
                      <a:pt x="34" y="266"/>
                    </a:lnTo>
                    <a:lnTo>
                      <a:pt x="32" y="260"/>
                    </a:lnTo>
                    <a:lnTo>
                      <a:pt x="36" y="248"/>
                    </a:lnTo>
                    <a:lnTo>
                      <a:pt x="42" y="242"/>
                    </a:lnTo>
                    <a:lnTo>
                      <a:pt x="44" y="232"/>
                    </a:lnTo>
                    <a:lnTo>
                      <a:pt x="48" y="214"/>
                    </a:lnTo>
                    <a:lnTo>
                      <a:pt x="48" y="204"/>
                    </a:lnTo>
                    <a:lnTo>
                      <a:pt x="44" y="188"/>
                    </a:lnTo>
                    <a:lnTo>
                      <a:pt x="38" y="178"/>
                    </a:lnTo>
                    <a:lnTo>
                      <a:pt x="36" y="176"/>
                    </a:lnTo>
                    <a:lnTo>
                      <a:pt x="36" y="170"/>
                    </a:lnTo>
                    <a:lnTo>
                      <a:pt x="34" y="166"/>
                    </a:lnTo>
                    <a:lnTo>
                      <a:pt x="30" y="156"/>
                    </a:lnTo>
                    <a:lnTo>
                      <a:pt x="24" y="152"/>
                    </a:lnTo>
                    <a:lnTo>
                      <a:pt x="22" y="148"/>
                    </a:lnTo>
                    <a:lnTo>
                      <a:pt x="26" y="138"/>
                    </a:lnTo>
                    <a:lnTo>
                      <a:pt x="18" y="124"/>
                    </a:lnTo>
                    <a:lnTo>
                      <a:pt x="6" y="112"/>
                    </a:lnTo>
                    <a:lnTo>
                      <a:pt x="2" y="10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" name="Freeform 15">
                <a:extLst>
                  <a:ext uri="{FF2B5EF4-FFF2-40B4-BE49-F238E27FC236}">
                    <a16:creationId xmlns:a16="http://schemas.microsoft.com/office/drawing/2014/main" id="{37023130-80F1-485A-910A-9BFC0514F4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1" y="1501"/>
                <a:ext cx="316" cy="560"/>
              </a:xfrm>
              <a:custGeom>
                <a:avLst/>
                <a:gdLst>
                  <a:gd name="T0" fmla="*/ 52 w 314"/>
                  <a:gd name="T1" fmla="*/ 14 h 558"/>
                  <a:gd name="T2" fmla="*/ 70 w 314"/>
                  <a:gd name="T3" fmla="*/ 30 h 558"/>
                  <a:gd name="T4" fmla="*/ 87 w 314"/>
                  <a:gd name="T5" fmla="*/ 46 h 558"/>
                  <a:gd name="T6" fmla="*/ 91 w 314"/>
                  <a:gd name="T7" fmla="*/ 72 h 558"/>
                  <a:gd name="T8" fmla="*/ 81 w 314"/>
                  <a:gd name="T9" fmla="*/ 88 h 558"/>
                  <a:gd name="T10" fmla="*/ 68 w 314"/>
                  <a:gd name="T11" fmla="*/ 110 h 558"/>
                  <a:gd name="T12" fmla="*/ 52 w 314"/>
                  <a:gd name="T13" fmla="*/ 118 h 558"/>
                  <a:gd name="T14" fmla="*/ 30 w 314"/>
                  <a:gd name="T15" fmla="*/ 124 h 558"/>
                  <a:gd name="T16" fmla="*/ 26 w 314"/>
                  <a:gd name="T17" fmla="*/ 143 h 558"/>
                  <a:gd name="T18" fmla="*/ 38 w 314"/>
                  <a:gd name="T19" fmla="*/ 159 h 558"/>
                  <a:gd name="T20" fmla="*/ 24 w 314"/>
                  <a:gd name="T21" fmla="*/ 199 h 558"/>
                  <a:gd name="T22" fmla="*/ 8 w 314"/>
                  <a:gd name="T23" fmla="*/ 213 h 558"/>
                  <a:gd name="T24" fmla="*/ 4 w 314"/>
                  <a:gd name="T25" fmla="*/ 229 h 558"/>
                  <a:gd name="T26" fmla="*/ 0 w 314"/>
                  <a:gd name="T27" fmla="*/ 245 h 558"/>
                  <a:gd name="T28" fmla="*/ 8 w 314"/>
                  <a:gd name="T29" fmla="*/ 279 h 558"/>
                  <a:gd name="T30" fmla="*/ 30 w 314"/>
                  <a:gd name="T31" fmla="*/ 313 h 558"/>
                  <a:gd name="T32" fmla="*/ 60 w 314"/>
                  <a:gd name="T33" fmla="*/ 337 h 558"/>
                  <a:gd name="T34" fmla="*/ 76 w 314"/>
                  <a:gd name="T35" fmla="*/ 377 h 558"/>
                  <a:gd name="T36" fmla="*/ 91 w 314"/>
                  <a:gd name="T37" fmla="*/ 365 h 558"/>
                  <a:gd name="T38" fmla="*/ 113 w 314"/>
                  <a:gd name="T39" fmla="*/ 381 h 558"/>
                  <a:gd name="T40" fmla="*/ 111 w 314"/>
                  <a:gd name="T41" fmla="*/ 407 h 558"/>
                  <a:gd name="T42" fmla="*/ 93 w 314"/>
                  <a:gd name="T43" fmla="*/ 432 h 558"/>
                  <a:gd name="T44" fmla="*/ 111 w 314"/>
                  <a:gd name="T45" fmla="*/ 456 h 558"/>
                  <a:gd name="T46" fmla="*/ 145 w 314"/>
                  <a:gd name="T47" fmla="*/ 472 h 558"/>
                  <a:gd name="T48" fmla="*/ 171 w 314"/>
                  <a:gd name="T49" fmla="*/ 510 h 558"/>
                  <a:gd name="T50" fmla="*/ 177 w 314"/>
                  <a:gd name="T51" fmla="*/ 522 h 558"/>
                  <a:gd name="T52" fmla="*/ 171 w 314"/>
                  <a:gd name="T53" fmla="*/ 532 h 558"/>
                  <a:gd name="T54" fmla="*/ 191 w 314"/>
                  <a:gd name="T55" fmla="*/ 558 h 558"/>
                  <a:gd name="T56" fmla="*/ 197 w 314"/>
                  <a:gd name="T57" fmla="*/ 554 h 558"/>
                  <a:gd name="T58" fmla="*/ 203 w 314"/>
                  <a:gd name="T59" fmla="*/ 540 h 558"/>
                  <a:gd name="T60" fmla="*/ 225 w 314"/>
                  <a:gd name="T61" fmla="*/ 536 h 558"/>
                  <a:gd name="T62" fmla="*/ 246 w 314"/>
                  <a:gd name="T63" fmla="*/ 548 h 558"/>
                  <a:gd name="T64" fmla="*/ 252 w 314"/>
                  <a:gd name="T65" fmla="*/ 524 h 558"/>
                  <a:gd name="T66" fmla="*/ 258 w 314"/>
                  <a:gd name="T67" fmla="*/ 508 h 558"/>
                  <a:gd name="T68" fmla="*/ 284 w 314"/>
                  <a:gd name="T69" fmla="*/ 500 h 558"/>
                  <a:gd name="T70" fmla="*/ 274 w 314"/>
                  <a:gd name="T71" fmla="*/ 486 h 558"/>
                  <a:gd name="T72" fmla="*/ 280 w 314"/>
                  <a:gd name="T73" fmla="*/ 476 h 558"/>
                  <a:gd name="T74" fmla="*/ 282 w 314"/>
                  <a:gd name="T75" fmla="*/ 470 h 558"/>
                  <a:gd name="T76" fmla="*/ 280 w 314"/>
                  <a:gd name="T77" fmla="*/ 462 h 558"/>
                  <a:gd name="T78" fmla="*/ 286 w 314"/>
                  <a:gd name="T79" fmla="*/ 430 h 558"/>
                  <a:gd name="T80" fmla="*/ 304 w 314"/>
                  <a:gd name="T81" fmla="*/ 401 h 558"/>
                  <a:gd name="T82" fmla="*/ 316 w 314"/>
                  <a:gd name="T83" fmla="*/ 375 h 558"/>
                  <a:gd name="T84" fmla="*/ 304 w 314"/>
                  <a:gd name="T85" fmla="*/ 337 h 558"/>
                  <a:gd name="T86" fmla="*/ 304 w 314"/>
                  <a:gd name="T87" fmla="*/ 315 h 558"/>
                  <a:gd name="T88" fmla="*/ 288 w 314"/>
                  <a:gd name="T89" fmla="*/ 74 h 558"/>
                  <a:gd name="T90" fmla="*/ 282 w 314"/>
                  <a:gd name="T91" fmla="*/ 66 h 558"/>
                  <a:gd name="T92" fmla="*/ 274 w 314"/>
                  <a:gd name="T93" fmla="*/ 38 h 558"/>
                  <a:gd name="T94" fmla="*/ 260 w 314"/>
                  <a:gd name="T95" fmla="*/ 18 h 55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14" h="558">
                    <a:moveTo>
                      <a:pt x="258" y="0"/>
                    </a:moveTo>
                    <a:lnTo>
                      <a:pt x="52" y="14"/>
                    </a:lnTo>
                    <a:lnTo>
                      <a:pt x="56" y="18"/>
                    </a:lnTo>
                    <a:lnTo>
                      <a:pt x="70" y="30"/>
                    </a:lnTo>
                    <a:lnTo>
                      <a:pt x="72" y="38"/>
                    </a:lnTo>
                    <a:lnTo>
                      <a:pt x="86" y="46"/>
                    </a:lnTo>
                    <a:lnTo>
                      <a:pt x="92" y="64"/>
                    </a:lnTo>
                    <a:lnTo>
                      <a:pt x="90" y="72"/>
                    </a:lnTo>
                    <a:lnTo>
                      <a:pt x="86" y="82"/>
                    </a:lnTo>
                    <a:lnTo>
                      <a:pt x="80" y="88"/>
                    </a:lnTo>
                    <a:lnTo>
                      <a:pt x="80" y="96"/>
                    </a:lnTo>
                    <a:lnTo>
                      <a:pt x="68" y="110"/>
                    </a:lnTo>
                    <a:lnTo>
                      <a:pt x="56" y="114"/>
                    </a:lnTo>
                    <a:lnTo>
                      <a:pt x="52" y="118"/>
                    </a:lnTo>
                    <a:lnTo>
                      <a:pt x="36" y="120"/>
                    </a:lnTo>
                    <a:lnTo>
                      <a:pt x="30" y="124"/>
                    </a:lnTo>
                    <a:lnTo>
                      <a:pt x="24" y="134"/>
                    </a:lnTo>
                    <a:lnTo>
                      <a:pt x="26" y="142"/>
                    </a:lnTo>
                    <a:lnTo>
                      <a:pt x="34" y="152"/>
                    </a:lnTo>
                    <a:lnTo>
                      <a:pt x="38" y="158"/>
                    </a:lnTo>
                    <a:lnTo>
                      <a:pt x="34" y="172"/>
                    </a:lnTo>
                    <a:lnTo>
                      <a:pt x="24" y="198"/>
                    </a:lnTo>
                    <a:lnTo>
                      <a:pt x="12" y="204"/>
                    </a:lnTo>
                    <a:lnTo>
                      <a:pt x="8" y="212"/>
                    </a:lnTo>
                    <a:lnTo>
                      <a:pt x="10" y="220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0" y="244"/>
                    </a:lnTo>
                    <a:lnTo>
                      <a:pt x="0" y="262"/>
                    </a:lnTo>
                    <a:lnTo>
                      <a:pt x="8" y="278"/>
                    </a:lnTo>
                    <a:lnTo>
                      <a:pt x="8" y="286"/>
                    </a:lnTo>
                    <a:lnTo>
                      <a:pt x="30" y="312"/>
                    </a:lnTo>
                    <a:lnTo>
                      <a:pt x="54" y="330"/>
                    </a:lnTo>
                    <a:lnTo>
                      <a:pt x="60" y="336"/>
                    </a:lnTo>
                    <a:lnTo>
                      <a:pt x="72" y="372"/>
                    </a:lnTo>
                    <a:lnTo>
                      <a:pt x="76" y="376"/>
                    </a:lnTo>
                    <a:lnTo>
                      <a:pt x="84" y="368"/>
                    </a:lnTo>
                    <a:lnTo>
                      <a:pt x="90" y="364"/>
                    </a:lnTo>
                    <a:lnTo>
                      <a:pt x="108" y="374"/>
                    </a:lnTo>
                    <a:lnTo>
                      <a:pt x="112" y="380"/>
                    </a:lnTo>
                    <a:lnTo>
                      <a:pt x="108" y="392"/>
                    </a:lnTo>
                    <a:lnTo>
                      <a:pt x="110" y="406"/>
                    </a:lnTo>
                    <a:lnTo>
                      <a:pt x="96" y="424"/>
                    </a:lnTo>
                    <a:lnTo>
                      <a:pt x="92" y="430"/>
                    </a:lnTo>
                    <a:lnTo>
                      <a:pt x="98" y="440"/>
                    </a:lnTo>
                    <a:lnTo>
                      <a:pt x="110" y="454"/>
                    </a:lnTo>
                    <a:lnTo>
                      <a:pt x="132" y="468"/>
                    </a:lnTo>
                    <a:lnTo>
                      <a:pt x="144" y="470"/>
                    </a:lnTo>
                    <a:lnTo>
                      <a:pt x="166" y="490"/>
                    </a:lnTo>
                    <a:lnTo>
                      <a:pt x="170" y="508"/>
                    </a:lnTo>
                    <a:lnTo>
                      <a:pt x="178" y="516"/>
                    </a:lnTo>
                    <a:lnTo>
                      <a:pt x="176" y="520"/>
                    </a:lnTo>
                    <a:lnTo>
                      <a:pt x="170" y="526"/>
                    </a:lnTo>
                    <a:lnTo>
                      <a:pt x="170" y="530"/>
                    </a:lnTo>
                    <a:lnTo>
                      <a:pt x="186" y="558"/>
                    </a:lnTo>
                    <a:lnTo>
                      <a:pt x="190" y="556"/>
                    </a:lnTo>
                    <a:lnTo>
                      <a:pt x="190" y="552"/>
                    </a:lnTo>
                    <a:lnTo>
                      <a:pt x="196" y="552"/>
                    </a:lnTo>
                    <a:lnTo>
                      <a:pt x="198" y="554"/>
                    </a:lnTo>
                    <a:lnTo>
                      <a:pt x="202" y="538"/>
                    </a:lnTo>
                    <a:lnTo>
                      <a:pt x="212" y="532"/>
                    </a:lnTo>
                    <a:lnTo>
                      <a:pt x="224" y="534"/>
                    </a:lnTo>
                    <a:lnTo>
                      <a:pt x="234" y="540"/>
                    </a:lnTo>
                    <a:lnTo>
                      <a:pt x="244" y="546"/>
                    </a:lnTo>
                    <a:lnTo>
                      <a:pt x="254" y="542"/>
                    </a:lnTo>
                    <a:lnTo>
                      <a:pt x="250" y="522"/>
                    </a:lnTo>
                    <a:lnTo>
                      <a:pt x="248" y="510"/>
                    </a:lnTo>
                    <a:lnTo>
                      <a:pt x="256" y="506"/>
                    </a:lnTo>
                    <a:lnTo>
                      <a:pt x="280" y="500"/>
                    </a:lnTo>
                    <a:lnTo>
                      <a:pt x="282" y="498"/>
                    </a:lnTo>
                    <a:lnTo>
                      <a:pt x="274" y="488"/>
                    </a:lnTo>
                    <a:lnTo>
                      <a:pt x="272" y="484"/>
                    </a:lnTo>
                    <a:lnTo>
                      <a:pt x="276" y="482"/>
                    </a:lnTo>
                    <a:lnTo>
                      <a:pt x="278" y="474"/>
                    </a:lnTo>
                    <a:lnTo>
                      <a:pt x="280" y="470"/>
                    </a:lnTo>
                    <a:lnTo>
                      <a:pt x="280" y="468"/>
                    </a:lnTo>
                    <a:lnTo>
                      <a:pt x="278" y="464"/>
                    </a:lnTo>
                    <a:lnTo>
                      <a:pt x="278" y="460"/>
                    </a:lnTo>
                    <a:lnTo>
                      <a:pt x="284" y="442"/>
                    </a:lnTo>
                    <a:lnTo>
                      <a:pt x="284" y="428"/>
                    </a:lnTo>
                    <a:lnTo>
                      <a:pt x="294" y="416"/>
                    </a:lnTo>
                    <a:lnTo>
                      <a:pt x="302" y="400"/>
                    </a:lnTo>
                    <a:lnTo>
                      <a:pt x="302" y="394"/>
                    </a:lnTo>
                    <a:lnTo>
                      <a:pt x="314" y="374"/>
                    </a:lnTo>
                    <a:lnTo>
                      <a:pt x="310" y="354"/>
                    </a:lnTo>
                    <a:lnTo>
                      <a:pt x="302" y="336"/>
                    </a:lnTo>
                    <a:lnTo>
                      <a:pt x="304" y="324"/>
                    </a:lnTo>
                    <a:lnTo>
                      <a:pt x="302" y="314"/>
                    </a:lnTo>
                    <a:lnTo>
                      <a:pt x="306" y="310"/>
                    </a:lnTo>
                    <a:lnTo>
                      <a:pt x="286" y="74"/>
                    </a:lnTo>
                    <a:lnTo>
                      <a:pt x="282" y="72"/>
                    </a:lnTo>
                    <a:lnTo>
                      <a:pt x="280" y="66"/>
                    </a:lnTo>
                    <a:lnTo>
                      <a:pt x="274" y="46"/>
                    </a:lnTo>
                    <a:lnTo>
                      <a:pt x="272" y="38"/>
                    </a:lnTo>
                    <a:lnTo>
                      <a:pt x="264" y="32"/>
                    </a:lnTo>
                    <a:lnTo>
                      <a:pt x="258" y="18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26" name="Group 111">
                <a:extLst>
                  <a:ext uri="{FF2B5EF4-FFF2-40B4-BE49-F238E27FC236}">
                    <a16:creationId xmlns:a16="http://schemas.microsoft.com/office/drawing/2014/main" id="{36318A0B-689C-462E-A255-041B4A494F90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3484" y="1005"/>
                <a:ext cx="598" cy="564"/>
                <a:chOff x="3484" y="1005"/>
                <a:chExt cx="598" cy="564"/>
              </a:xfrm>
              <a:grpFill/>
            </p:grpSpPr>
            <p:sp>
              <p:nvSpPr>
                <p:cNvPr id="65" name="Freeform 20">
                  <a:extLst>
                    <a:ext uri="{FF2B5EF4-FFF2-40B4-BE49-F238E27FC236}">
                      <a16:creationId xmlns:a16="http://schemas.microsoft.com/office/drawing/2014/main" id="{AF0C5B8C-1BB4-4C1A-BDE0-ACDF25C8260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773" y="1148"/>
                  <a:ext cx="309" cy="421"/>
                </a:xfrm>
                <a:custGeom>
                  <a:avLst/>
                  <a:gdLst>
                    <a:gd name="T0" fmla="*/ 156 w 306"/>
                    <a:gd name="T1" fmla="*/ 403 h 420"/>
                    <a:gd name="T2" fmla="*/ 252 w 306"/>
                    <a:gd name="T3" fmla="*/ 393 h 420"/>
                    <a:gd name="T4" fmla="*/ 267 w 306"/>
                    <a:gd name="T5" fmla="*/ 367 h 420"/>
                    <a:gd name="T6" fmla="*/ 269 w 306"/>
                    <a:gd name="T7" fmla="*/ 345 h 420"/>
                    <a:gd name="T8" fmla="*/ 287 w 306"/>
                    <a:gd name="T9" fmla="*/ 323 h 420"/>
                    <a:gd name="T10" fmla="*/ 289 w 306"/>
                    <a:gd name="T11" fmla="*/ 307 h 420"/>
                    <a:gd name="T12" fmla="*/ 297 w 306"/>
                    <a:gd name="T13" fmla="*/ 293 h 420"/>
                    <a:gd name="T14" fmla="*/ 301 w 306"/>
                    <a:gd name="T15" fmla="*/ 301 h 420"/>
                    <a:gd name="T16" fmla="*/ 309 w 306"/>
                    <a:gd name="T17" fmla="*/ 295 h 420"/>
                    <a:gd name="T18" fmla="*/ 307 w 306"/>
                    <a:gd name="T19" fmla="*/ 275 h 420"/>
                    <a:gd name="T20" fmla="*/ 305 w 306"/>
                    <a:gd name="T21" fmla="*/ 247 h 420"/>
                    <a:gd name="T22" fmla="*/ 279 w 306"/>
                    <a:gd name="T23" fmla="*/ 166 h 420"/>
                    <a:gd name="T24" fmla="*/ 248 w 306"/>
                    <a:gd name="T25" fmla="*/ 164 h 420"/>
                    <a:gd name="T26" fmla="*/ 212 w 306"/>
                    <a:gd name="T27" fmla="*/ 213 h 420"/>
                    <a:gd name="T28" fmla="*/ 208 w 306"/>
                    <a:gd name="T29" fmla="*/ 211 h 420"/>
                    <a:gd name="T30" fmla="*/ 194 w 306"/>
                    <a:gd name="T31" fmla="*/ 202 h 420"/>
                    <a:gd name="T32" fmla="*/ 194 w 306"/>
                    <a:gd name="T33" fmla="*/ 178 h 420"/>
                    <a:gd name="T34" fmla="*/ 212 w 306"/>
                    <a:gd name="T35" fmla="*/ 164 h 420"/>
                    <a:gd name="T36" fmla="*/ 214 w 306"/>
                    <a:gd name="T37" fmla="*/ 152 h 420"/>
                    <a:gd name="T38" fmla="*/ 222 w 306"/>
                    <a:gd name="T39" fmla="*/ 142 h 420"/>
                    <a:gd name="T40" fmla="*/ 228 w 306"/>
                    <a:gd name="T41" fmla="*/ 104 h 420"/>
                    <a:gd name="T42" fmla="*/ 220 w 306"/>
                    <a:gd name="T43" fmla="*/ 86 h 420"/>
                    <a:gd name="T44" fmla="*/ 210 w 306"/>
                    <a:gd name="T45" fmla="*/ 72 h 420"/>
                    <a:gd name="T46" fmla="*/ 220 w 306"/>
                    <a:gd name="T47" fmla="*/ 62 h 420"/>
                    <a:gd name="T48" fmla="*/ 212 w 306"/>
                    <a:gd name="T49" fmla="*/ 42 h 420"/>
                    <a:gd name="T50" fmla="*/ 178 w 306"/>
                    <a:gd name="T51" fmla="*/ 26 h 420"/>
                    <a:gd name="T52" fmla="*/ 151 w 306"/>
                    <a:gd name="T53" fmla="*/ 16 h 420"/>
                    <a:gd name="T54" fmla="*/ 123 w 306"/>
                    <a:gd name="T55" fmla="*/ 8 h 420"/>
                    <a:gd name="T56" fmla="*/ 107 w 306"/>
                    <a:gd name="T57" fmla="*/ 6 h 420"/>
                    <a:gd name="T58" fmla="*/ 91 w 306"/>
                    <a:gd name="T59" fmla="*/ 24 h 420"/>
                    <a:gd name="T60" fmla="*/ 93 w 306"/>
                    <a:gd name="T61" fmla="*/ 38 h 420"/>
                    <a:gd name="T62" fmla="*/ 97 w 306"/>
                    <a:gd name="T63" fmla="*/ 44 h 420"/>
                    <a:gd name="T64" fmla="*/ 89 w 306"/>
                    <a:gd name="T65" fmla="*/ 48 h 420"/>
                    <a:gd name="T66" fmla="*/ 77 w 306"/>
                    <a:gd name="T67" fmla="*/ 58 h 420"/>
                    <a:gd name="T68" fmla="*/ 75 w 306"/>
                    <a:gd name="T69" fmla="*/ 80 h 420"/>
                    <a:gd name="T70" fmla="*/ 71 w 306"/>
                    <a:gd name="T71" fmla="*/ 102 h 420"/>
                    <a:gd name="T72" fmla="*/ 59 w 306"/>
                    <a:gd name="T73" fmla="*/ 98 h 420"/>
                    <a:gd name="T74" fmla="*/ 59 w 306"/>
                    <a:gd name="T75" fmla="*/ 76 h 420"/>
                    <a:gd name="T76" fmla="*/ 59 w 306"/>
                    <a:gd name="T77" fmla="*/ 70 h 420"/>
                    <a:gd name="T78" fmla="*/ 50 w 306"/>
                    <a:gd name="T79" fmla="*/ 78 h 420"/>
                    <a:gd name="T80" fmla="*/ 46 w 306"/>
                    <a:gd name="T81" fmla="*/ 94 h 420"/>
                    <a:gd name="T82" fmla="*/ 32 w 306"/>
                    <a:gd name="T83" fmla="*/ 102 h 420"/>
                    <a:gd name="T84" fmla="*/ 28 w 306"/>
                    <a:gd name="T85" fmla="*/ 114 h 420"/>
                    <a:gd name="T86" fmla="*/ 18 w 306"/>
                    <a:gd name="T87" fmla="*/ 140 h 420"/>
                    <a:gd name="T88" fmla="*/ 16 w 306"/>
                    <a:gd name="T89" fmla="*/ 168 h 420"/>
                    <a:gd name="T90" fmla="*/ 4 w 306"/>
                    <a:gd name="T91" fmla="*/ 188 h 420"/>
                    <a:gd name="T92" fmla="*/ 12 w 306"/>
                    <a:gd name="T93" fmla="*/ 221 h 420"/>
                    <a:gd name="T94" fmla="*/ 14 w 306"/>
                    <a:gd name="T95" fmla="*/ 245 h 420"/>
                    <a:gd name="T96" fmla="*/ 38 w 306"/>
                    <a:gd name="T97" fmla="*/ 297 h 420"/>
                    <a:gd name="T98" fmla="*/ 42 w 306"/>
                    <a:gd name="T99" fmla="*/ 323 h 420"/>
                    <a:gd name="T100" fmla="*/ 40 w 306"/>
                    <a:gd name="T101" fmla="*/ 329 h 420"/>
                    <a:gd name="T102" fmla="*/ 34 w 306"/>
                    <a:gd name="T103" fmla="*/ 365 h 420"/>
                    <a:gd name="T104" fmla="*/ 16 w 306"/>
                    <a:gd name="T105" fmla="*/ 409 h 420"/>
                    <a:gd name="T106" fmla="*/ 0 w 306"/>
                    <a:gd name="T107" fmla="*/ 421 h 42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306" h="420">
                      <a:moveTo>
                        <a:pt x="0" y="420"/>
                      </a:moveTo>
                      <a:lnTo>
                        <a:pt x="154" y="402"/>
                      </a:lnTo>
                      <a:lnTo>
                        <a:pt x="154" y="406"/>
                      </a:lnTo>
                      <a:lnTo>
                        <a:pt x="250" y="392"/>
                      </a:lnTo>
                      <a:lnTo>
                        <a:pt x="252" y="388"/>
                      </a:lnTo>
                      <a:lnTo>
                        <a:pt x="264" y="366"/>
                      </a:lnTo>
                      <a:lnTo>
                        <a:pt x="268" y="360"/>
                      </a:lnTo>
                      <a:lnTo>
                        <a:pt x="266" y="344"/>
                      </a:lnTo>
                      <a:lnTo>
                        <a:pt x="272" y="330"/>
                      </a:lnTo>
                      <a:lnTo>
                        <a:pt x="284" y="322"/>
                      </a:lnTo>
                      <a:lnTo>
                        <a:pt x="284" y="308"/>
                      </a:lnTo>
                      <a:lnTo>
                        <a:pt x="286" y="306"/>
                      </a:lnTo>
                      <a:lnTo>
                        <a:pt x="286" y="298"/>
                      </a:lnTo>
                      <a:lnTo>
                        <a:pt x="294" y="292"/>
                      </a:lnTo>
                      <a:lnTo>
                        <a:pt x="296" y="300"/>
                      </a:lnTo>
                      <a:lnTo>
                        <a:pt x="298" y="300"/>
                      </a:lnTo>
                      <a:lnTo>
                        <a:pt x="304" y="298"/>
                      </a:lnTo>
                      <a:lnTo>
                        <a:pt x="306" y="294"/>
                      </a:lnTo>
                      <a:lnTo>
                        <a:pt x="306" y="286"/>
                      </a:lnTo>
                      <a:lnTo>
                        <a:pt x="304" y="274"/>
                      </a:lnTo>
                      <a:lnTo>
                        <a:pt x="306" y="256"/>
                      </a:lnTo>
                      <a:lnTo>
                        <a:pt x="302" y="246"/>
                      </a:lnTo>
                      <a:lnTo>
                        <a:pt x="298" y="222"/>
                      </a:lnTo>
                      <a:lnTo>
                        <a:pt x="276" y="166"/>
                      </a:lnTo>
                      <a:lnTo>
                        <a:pt x="256" y="158"/>
                      </a:lnTo>
                      <a:lnTo>
                        <a:pt x="246" y="164"/>
                      </a:lnTo>
                      <a:lnTo>
                        <a:pt x="236" y="174"/>
                      </a:lnTo>
                      <a:lnTo>
                        <a:pt x="210" y="212"/>
                      </a:lnTo>
                      <a:lnTo>
                        <a:pt x="208" y="212"/>
                      </a:lnTo>
                      <a:lnTo>
                        <a:pt x="206" y="210"/>
                      </a:lnTo>
                      <a:lnTo>
                        <a:pt x="196" y="206"/>
                      </a:lnTo>
                      <a:lnTo>
                        <a:pt x="192" y="202"/>
                      </a:lnTo>
                      <a:lnTo>
                        <a:pt x="190" y="194"/>
                      </a:lnTo>
                      <a:lnTo>
                        <a:pt x="192" y="178"/>
                      </a:lnTo>
                      <a:lnTo>
                        <a:pt x="196" y="172"/>
                      </a:lnTo>
                      <a:lnTo>
                        <a:pt x="210" y="164"/>
                      </a:lnTo>
                      <a:lnTo>
                        <a:pt x="212" y="158"/>
                      </a:lnTo>
                      <a:lnTo>
                        <a:pt x="212" y="152"/>
                      </a:lnTo>
                      <a:lnTo>
                        <a:pt x="214" y="146"/>
                      </a:lnTo>
                      <a:lnTo>
                        <a:pt x="220" y="142"/>
                      </a:lnTo>
                      <a:lnTo>
                        <a:pt x="226" y="130"/>
                      </a:lnTo>
                      <a:lnTo>
                        <a:pt x="226" y="104"/>
                      </a:lnTo>
                      <a:lnTo>
                        <a:pt x="222" y="92"/>
                      </a:lnTo>
                      <a:lnTo>
                        <a:pt x="218" y="86"/>
                      </a:lnTo>
                      <a:lnTo>
                        <a:pt x="210" y="76"/>
                      </a:lnTo>
                      <a:lnTo>
                        <a:pt x="208" y="72"/>
                      </a:lnTo>
                      <a:lnTo>
                        <a:pt x="210" y="66"/>
                      </a:lnTo>
                      <a:lnTo>
                        <a:pt x="218" y="62"/>
                      </a:lnTo>
                      <a:lnTo>
                        <a:pt x="220" y="60"/>
                      </a:lnTo>
                      <a:lnTo>
                        <a:pt x="210" y="42"/>
                      </a:lnTo>
                      <a:lnTo>
                        <a:pt x="202" y="38"/>
                      </a:lnTo>
                      <a:lnTo>
                        <a:pt x="176" y="26"/>
                      </a:lnTo>
                      <a:lnTo>
                        <a:pt x="158" y="24"/>
                      </a:lnTo>
                      <a:lnTo>
                        <a:pt x="150" y="16"/>
                      </a:lnTo>
                      <a:lnTo>
                        <a:pt x="136" y="12"/>
                      </a:lnTo>
                      <a:lnTo>
                        <a:pt x="122" y="8"/>
                      </a:lnTo>
                      <a:lnTo>
                        <a:pt x="112" y="0"/>
                      </a:lnTo>
                      <a:lnTo>
                        <a:pt x="106" y="6"/>
                      </a:lnTo>
                      <a:lnTo>
                        <a:pt x="98" y="10"/>
                      </a:lnTo>
                      <a:lnTo>
                        <a:pt x="90" y="24"/>
                      </a:lnTo>
                      <a:lnTo>
                        <a:pt x="90" y="34"/>
                      </a:lnTo>
                      <a:lnTo>
                        <a:pt x="92" y="38"/>
                      </a:lnTo>
                      <a:lnTo>
                        <a:pt x="94" y="40"/>
                      </a:lnTo>
                      <a:lnTo>
                        <a:pt x="96" y="44"/>
                      </a:lnTo>
                      <a:lnTo>
                        <a:pt x="94" y="46"/>
                      </a:lnTo>
                      <a:lnTo>
                        <a:pt x="88" y="48"/>
                      </a:lnTo>
                      <a:lnTo>
                        <a:pt x="82" y="52"/>
                      </a:lnTo>
                      <a:lnTo>
                        <a:pt x="76" y="58"/>
                      </a:lnTo>
                      <a:lnTo>
                        <a:pt x="72" y="68"/>
                      </a:lnTo>
                      <a:lnTo>
                        <a:pt x="74" y="80"/>
                      </a:lnTo>
                      <a:lnTo>
                        <a:pt x="76" y="90"/>
                      </a:lnTo>
                      <a:lnTo>
                        <a:pt x="70" y="102"/>
                      </a:lnTo>
                      <a:lnTo>
                        <a:pt x="60" y="106"/>
                      </a:lnTo>
                      <a:lnTo>
                        <a:pt x="58" y="98"/>
                      </a:lnTo>
                      <a:lnTo>
                        <a:pt x="62" y="88"/>
                      </a:lnTo>
                      <a:lnTo>
                        <a:pt x="58" y="76"/>
                      </a:lnTo>
                      <a:lnTo>
                        <a:pt x="60" y="72"/>
                      </a:lnTo>
                      <a:lnTo>
                        <a:pt x="58" y="70"/>
                      </a:lnTo>
                      <a:lnTo>
                        <a:pt x="56" y="72"/>
                      </a:lnTo>
                      <a:lnTo>
                        <a:pt x="50" y="78"/>
                      </a:lnTo>
                      <a:lnTo>
                        <a:pt x="50" y="90"/>
                      </a:lnTo>
                      <a:lnTo>
                        <a:pt x="46" y="94"/>
                      </a:lnTo>
                      <a:lnTo>
                        <a:pt x="40" y="94"/>
                      </a:lnTo>
                      <a:lnTo>
                        <a:pt x="32" y="102"/>
                      </a:lnTo>
                      <a:lnTo>
                        <a:pt x="28" y="110"/>
                      </a:lnTo>
                      <a:lnTo>
                        <a:pt x="28" y="114"/>
                      </a:lnTo>
                      <a:lnTo>
                        <a:pt x="18" y="124"/>
                      </a:lnTo>
                      <a:lnTo>
                        <a:pt x="18" y="140"/>
                      </a:lnTo>
                      <a:lnTo>
                        <a:pt x="18" y="156"/>
                      </a:lnTo>
                      <a:lnTo>
                        <a:pt x="16" y="168"/>
                      </a:lnTo>
                      <a:lnTo>
                        <a:pt x="10" y="182"/>
                      </a:lnTo>
                      <a:lnTo>
                        <a:pt x="4" y="188"/>
                      </a:lnTo>
                      <a:lnTo>
                        <a:pt x="6" y="196"/>
                      </a:lnTo>
                      <a:lnTo>
                        <a:pt x="12" y="220"/>
                      </a:lnTo>
                      <a:lnTo>
                        <a:pt x="8" y="232"/>
                      </a:lnTo>
                      <a:lnTo>
                        <a:pt x="14" y="244"/>
                      </a:lnTo>
                      <a:lnTo>
                        <a:pt x="28" y="272"/>
                      </a:lnTo>
                      <a:lnTo>
                        <a:pt x="38" y="296"/>
                      </a:lnTo>
                      <a:lnTo>
                        <a:pt x="38" y="318"/>
                      </a:lnTo>
                      <a:lnTo>
                        <a:pt x="42" y="322"/>
                      </a:lnTo>
                      <a:lnTo>
                        <a:pt x="42" y="326"/>
                      </a:lnTo>
                      <a:lnTo>
                        <a:pt x="40" y="328"/>
                      </a:lnTo>
                      <a:lnTo>
                        <a:pt x="38" y="350"/>
                      </a:lnTo>
                      <a:lnTo>
                        <a:pt x="34" y="364"/>
                      </a:lnTo>
                      <a:lnTo>
                        <a:pt x="28" y="378"/>
                      </a:lnTo>
                      <a:lnTo>
                        <a:pt x="16" y="408"/>
                      </a:lnTo>
                      <a:lnTo>
                        <a:pt x="4" y="416"/>
                      </a:lnTo>
                      <a:lnTo>
                        <a:pt x="0" y="42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1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6" name="Freeform 21">
                  <a:extLst>
                    <a:ext uri="{FF2B5EF4-FFF2-40B4-BE49-F238E27FC236}">
                      <a16:creationId xmlns:a16="http://schemas.microsoft.com/office/drawing/2014/main" id="{1117F82B-13BB-4463-A986-0DC1760A596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84" y="1005"/>
                  <a:ext cx="484" cy="236"/>
                </a:xfrm>
                <a:custGeom>
                  <a:avLst/>
                  <a:gdLst>
                    <a:gd name="T0" fmla="*/ 22 w 480"/>
                    <a:gd name="T1" fmla="*/ 92 h 236"/>
                    <a:gd name="T2" fmla="*/ 46 w 480"/>
                    <a:gd name="T3" fmla="*/ 74 h 236"/>
                    <a:gd name="T4" fmla="*/ 113 w 480"/>
                    <a:gd name="T5" fmla="*/ 32 h 236"/>
                    <a:gd name="T6" fmla="*/ 151 w 480"/>
                    <a:gd name="T7" fmla="*/ 4 h 236"/>
                    <a:gd name="T8" fmla="*/ 179 w 480"/>
                    <a:gd name="T9" fmla="*/ 4 h 236"/>
                    <a:gd name="T10" fmla="*/ 159 w 480"/>
                    <a:gd name="T11" fmla="*/ 22 h 236"/>
                    <a:gd name="T12" fmla="*/ 135 w 480"/>
                    <a:gd name="T13" fmla="*/ 50 h 236"/>
                    <a:gd name="T14" fmla="*/ 135 w 480"/>
                    <a:gd name="T15" fmla="*/ 68 h 236"/>
                    <a:gd name="T16" fmla="*/ 163 w 480"/>
                    <a:gd name="T17" fmla="*/ 56 h 236"/>
                    <a:gd name="T18" fmla="*/ 230 w 480"/>
                    <a:gd name="T19" fmla="*/ 90 h 236"/>
                    <a:gd name="T20" fmla="*/ 250 w 480"/>
                    <a:gd name="T21" fmla="*/ 94 h 236"/>
                    <a:gd name="T22" fmla="*/ 258 w 480"/>
                    <a:gd name="T23" fmla="*/ 98 h 236"/>
                    <a:gd name="T24" fmla="*/ 284 w 480"/>
                    <a:gd name="T25" fmla="*/ 76 h 236"/>
                    <a:gd name="T26" fmla="*/ 371 w 480"/>
                    <a:gd name="T27" fmla="*/ 48 h 236"/>
                    <a:gd name="T28" fmla="*/ 371 w 480"/>
                    <a:gd name="T29" fmla="*/ 66 h 236"/>
                    <a:gd name="T30" fmla="*/ 385 w 480"/>
                    <a:gd name="T31" fmla="*/ 80 h 236"/>
                    <a:gd name="T32" fmla="*/ 421 w 480"/>
                    <a:gd name="T33" fmla="*/ 76 h 236"/>
                    <a:gd name="T34" fmla="*/ 444 w 480"/>
                    <a:gd name="T35" fmla="*/ 104 h 236"/>
                    <a:gd name="T36" fmla="*/ 480 w 480"/>
                    <a:gd name="T37" fmla="*/ 108 h 236"/>
                    <a:gd name="T38" fmla="*/ 478 w 480"/>
                    <a:gd name="T39" fmla="*/ 122 h 236"/>
                    <a:gd name="T40" fmla="*/ 460 w 480"/>
                    <a:gd name="T41" fmla="*/ 120 h 236"/>
                    <a:gd name="T42" fmla="*/ 440 w 480"/>
                    <a:gd name="T43" fmla="*/ 122 h 236"/>
                    <a:gd name="T44" fmla="*/ 407 w 480"/>
                    <a:gd name="T45" fmla="*/ 122 h 236"/>
                    <a:gd name="T46" fmla="*/ 403 w 480"/>
                    <a:gd name="T47" fmla="*/ 138 h 236"/>
                    <a:gd name="T48" fmla="*/ 361 w 480"/>
                    <a:gd name="T49" fmla="*/ 124 h 236"/>
                    <a:gd name="T50" fmla="*/ 333 w 480"/>
                    <a:gd name="T51" fmla="*/ 136 h 236"/>
                    <a:gd name="T52" fmla="*/ 319 w 480"/>
                    <a:gd name="T53" fmla="*/ 142 h 236"/>
                    <a:gd name="T54" fmla="*/ 294 w 480"/>
                    <a:gd name="T55" fmla="*/ 144 h 236"/>
                    <a:gd name="T56" fmla="*/ 268 w 480"/>
                    <a:gd name="T57" fmla="*/ 176 h 236"/>
                    <a:gd name="T58" fmla="*/ 272 w 480"/>
                    <a:gd name="T59" fmla="*/ 160 h 236"/>
                    <a:gd name="T60" fmla="*/ 256 w 480"/>
                    <a:gd name="T61" fmla="*/ 166 h 236"/>
                    <a:gd name="T62" fmla="*/ 244 w 480"/>
                    <a:gd name="T63" fmla="*/ 154 h 236"/>
                    <a:gd name="T64" fmla="*/ 230 w 480"/>
                    <a:gd name="T65" fmla="*/ 184 h 236"/>
                    <a:gd name="T66" fmla="*/ 212 w 480"/>
                    <a:gd name="T67" fmla="*/ 222 h 236"/>
                    <a:gd name="T68" fmla="*/ 200 w 480"/>
                    <a:gd name="T69" fmla="*/ 230 h 236"/>
                    <a:gd name="T70" fmla="*/ 202 w 480"/>
                    <a:gd name="T71" fmla="*/ 208 h 236"/>
                    <a:gd name="T72" fmla="*/ 186 w 480"/>
                    <a:gd name="T73" fmla="*/ 208 h 236"/>
                    <a:gd name="T74" fmla="*/ 173 w 480"/>
                    <a:gd name="T75" fmla="*/ 168 h 236"/>
                    <a:gd name="T76" fmla="*/ 167 w 480"/>
                    <a:gd name="T77" fmla="*/ 160 h 236"/>
                    <a:gd name="T78" fmla="*/ 135 w 480"/>
                    <a:gd name="T79" fmla="*/ 150 h 236"/>
                    <a:gd name="T80" fmla="*/ 125 w 480"/>
                    <a:gd name="T81" fmla="*/ 150 h 236"/>
                    <a:gd name="T82" fmla="*/ 93 w 480"/>
                    <a:gd name="T83" fmla="*/ 138 h 236"/>
                    <a:gd name="T84" fmla="*/ 20 w 480"/>
                    <a:gd name="T85" fmla="*/ 112 h 236"/>
                    <a:gd name="T86" fmla="*/ 0 w 480"/>
                    <a:gd name="T87" fmla="*/ 100 h 2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480" h="236">
                      <a:moveTo>
                        <a:pt x="0" y="100"/>
                      </a:moveTo>
                      <a:lnTo>
                        <a:pt x="14" y="96"/>
                      </a:lnTo>
                      <a:lnTo>
                        <a:pt x="22" y="92"/>
                      </a:lnTo>
                      <a:lnTo>
                        <a:pt x="36" y="82"/>
                      </a:lnTo>
                      <a:lnTo>
                        <a:pt x="40" y="76"/>
                      </a:lnTo>
                      <a:lnTo>
                        <a:pt x="46" y="74"/>
                      </a:lnTo>
                      <a:lnTo>
                        <a:pt x="72" y="64"/>
                      </a:lnTo>
                      <a:lnTo>
                        <a:pt x="90" y="54"/>
                      </a:lnTo>
                      <a:lnTo>
                        <a:pt x="112" y="32"/>
                      </a:lnTo>
                      <a:lnTo>
                        <a:pt x="120" y="30"/>
                      </a:lnTo>
                      <a:lnTo>
                        <a:pt x="138" y="10"/>
                      </a:lnTo>
                      <a:lnTo>
                        <a:pt x="150" y="4"/>
                      </a:lnTo>
                      <a:lnTo>
                        <a:pt x="172" y="0"/>
                      </a:lnTo>
                      <a:lnTo>
                        <a:pt x="176" y="2"/>
                      </a:lnTo>
                      <a:lnTo>
                        <a:pt x="178" y="4"/>
                      </a:lnTo>
                      <a:lnTo>
                        <a:pt x="166" y="12"/>
                      </a:lnTo>
                      <a:lnTo>
                        <a:pt x="162" y="12"/>
                      </a:lnTo>
                      <a:lnTo>
                        <a:pt x="158" y="22"/>
                      </a:lnTo>
                      <a:lnTo>
                        <a:pt x="144" y="38"/>
                      </a:lnTo>
                      <a:lnTo>
                        <a:pt x="138" y="44"/>
                      </a:lnTo>
                      <a:lnTo>
                        <a:pt x="134" y="50"/>
                      </a:lnTo>
                      <a:lnTo>
                        <a:pt x="130" y="64"/>
                      </a:lnTo>
                      <a:lnTo>
                        <a:pt x="132" y="74"/>
                      </a:lnTo>
                      <a:lnTo>
                        <a:pt x="134" y="68"/>
                      </a:lnTo>
                      <a:lnTo>
                        <a:pt x="148" y="58"/>
                      </a:lnTo>
                      <a:lnTo>
                        <a:pt x="156" y="58"/>
                      </a:lnTo>
                      <a:lnTo>
                        <a:pt x="162" y="56"/>
                      </a:lnTo>
                      <a:lnTo>
                        <a:pt x="190" y="68"/>
                      </a:lnTo>
                      <a:lnTo>
                        <a:pt x="210" y="92"/>
                      </a:lnTo>
                      <a:lnTo>
                        <a:pt x="228" y="90"/>
                      </a:lnTo>
                      <a:lnTo>
                        <a:pt x="236" y="90"/>
                      </a:lnTo>
                      <a:lnTo>
                        <a:pt x="242" y="94"/>
                      </a:lnTo>
                      <a:lnTo>
                        <a:pt x="248" y="94"/>
                      </a:lnTo>
                      <a:lnTo>
                        <a:pt x="250" y="94"/>
                      </a:lnTo>
                      <a:lnTo>
                        <a:pt x="256" y="96"/>
                      </a:lnTo>
                      <a:lnTo>
                        <a:pt x="256" y="98"/>
                      </a:lnTo>
                      <a:lnTo>
                        <a:pt x="260" y="96"/>
                      </a:lnTo>
                      <a:lnTo>
                        <a:pt x="264" y="90"/>
                      </a:lnTo>
                      <a:lnTo>
                        <a:pt x="282" y="76"/>
                      </a:lnTo>
                      <a:lnTo>
                        <a:pt x="344" y="60"/>
                      </a:lnTo>
                      <a:lnTo>
                        <a:pt x="362" y="50"/>
                      </a:lnTo>
                      <a:lnTo>
                        <a:pt x="368" y="48"/>
                      </a:lnTo>
                      <a:lnTo>
                        <a:pt x="372" y="52"/>
                      </a:lnTo>
                      <a:lnTo>
                        <a:pt x="368" y="60"/>
                      </a:lnTo>
                      <a:lnTo>
                        <a:pt x="368" y="66"/>
                      </a:lnTo>
                      <a:lnTo>
                        <a:pt x="376" y="80"/>
                      </a:lnTo>
                      <a:lnTo>
                        <a:pt x="380" y="82"/>
                      </a:lnTo>
                      <a:lnTo>
                        <a:pt x="382" y="80"/>
                      </a:lnTo>
                      <a:lnTo>
                        <a:pt x="394" y="82"/>
                      </a:lnTo>
                      <a:lnTo>
                        <a:pt x="398" y="78"/>
                      </a:lnTo>
                      <a:lnTo>
                        <a:pt x="418" y="76"/>
                      </a:lnTo>
                      <a:lnTo>
                        <a:pt x="426" y="82"/>
                      </a:lnTo>
                      <a:lnTo>
                        <a:pt x="434" y="98"/>
                      </a:lnTo>
                      <a:lnTo>
                        <a:pt x="440" y="104"/>
                      </a:lnTo>
                      <a:lnTo>
                        <a:pt x="456" y="110"/>
                      </a:lnTo>
                      <a:lnTo>
                        <a:pt x="470" y="106"/>
                      </a:lnTo>
                      <a:lnTo>
                        <a:pt x="476" y="108"/>
                      </a:lnTo>
                      <a:lnTo>
                        <a:pt x="480" y="110"/>
                      </a:lnTo>
                      <a:lnTo>
                        <a:pt x="480" y="116"/>
                      </a:lnTo>
                      <a:lnTo>
                        <a:pt x="474" y="122"/>
                      </a:lnTo>
                      <a:lnTo>
                        <a:pt x="464" y="124"/>
                      </a:lnTo>
                      <a:lnTo>
                        <a:pt x="458" y="122"/>
                      </a:lnTo>
                      <a:lnTo>
                        <a:pt x="456" y="120"/>
                      </a:lnTo>
                      <a:lnTo>
                        <a:pt x="454" y="120"/>
                      </a:lnTo>
                      <a:lnTo>
                        <a:pt x="444" y="124"/>
                      </a:lnTo>
                      <a:lnTo>
                        <a:pt x="436" y="122"/>
                      </a:lnTo>
                      <a:lnTo>
                        <a:pt x="430" y="122"/>
                      </a:lnTo>
                      <a:lnTo>
                        <a:pt x="414" y="124"/>
                      </a:lnTo>
                      <a:lnTo>
                        <a:pt x="404" y="122"/>
                      </a:lnTo>
                      <a:lnTo>
                        <a:pt x="400" y="124"/>
                      </a:lnTo>
                      <a:lnTo>
                        <a:pt x="402" y="134"/>
                      </a:lnTo>
                      <a:lnTo>
                        <a:pt x="400" y="138"/>
                      </a:lnTo>
                      <a:lnTo>
                        <a:pt x="396" y="136"/>
                      </a:lnTo>
                      <a:lnTo>
                        <a:pt x="384" y="126"/>
                      </a:lnTo>
                      <a:lnTo>
                        <a:pt x="358" y="124"/>
                      </a:lnTo>
                      <a:lnTo>
                        <a:pt x="354" y="124"/>
                      </a:lnTo>
                      <a:lnTo>
                        <a:pt x="346" y="122"/>
                      </a:lnTo>
                      <a:lnTo>
                        <a:pt x="330" y="136"/>
                      </a:lnTo>
                      <a:lnTo>
                        <a:pt x="326" y="136"/>
                      </a:lnTo>
                      <a:lnTo>
                        <a:pt x="318" y="138"/>
                      </a:lnTo>
                      <a:lnTo>
                        <a:pt x="316" y="142"/>
                      </a:lnTo>
                      <a:lnTo>
                        <a:pt x="312" y="144"/>
                      </a:lnTo>
                      <a:lnTo>
                        <a:pt x="302" y="142"/>
                      </a:lnTo>
                      <a:lnTo>
                        <a:pt x="292" y="144"/>
                      </a:lnTo>
                      <a:lnTo>
                        <a:pt x="290" y="152"/>
                      </a:lnTo>
                      <a:lnTo>
                        <a:pt x="288" y="158"/>
                      </a:lnTo>
                      <a:lnTo>
                        <a:pt x="266" y="176"/>
                      </a:lnTo>
                      <a:lnTo>
                        <a:pt x="262" y="176"/>
                      </a:lnTo>
                      <a:lnTo>
                        <a:pt x="260" y="172"/>
                      </a:lnTo>
                      <a:lnTo>
                        <a:pt x="270" y="160"/>
                      </a:lnTo>
                      <a:lnTo>
                        <a:pt x="270" y="154"/>
                      </a:lnTo>
                      <a:lnTo>
                        <a:pt x="258" y="154"/>
                      </a:lnTo>
                      <a:lnTo>
                        <a:pt x="254" y="166"/>
                      </a:lnTo>
                      <a:lnTo>
                        <a:pt x="248" y="170"/>
                      </a:lnTo>
                      <a:lnTo>
                        <a:pt x="244" y="164"/>
                      </a:lnTo>
                      <a:lnTo>
                        <a:pt x="242" y="154"/>
                      </a:lnTo>
                      <a:lnTo>
                        <a:pt x="240" y="156"/>
                      </a:lnTo>
                      <a:lnTo>
                        <a:pt x="238" y="170"/>
                      </a:lnTo>
                      <a:lnTo>
                        <a:pt x="228" y="184"/>
                      </a:lnTo>
                      <a:lnTo>
                        <a:pt x="224" y="198"/>
                      </a:lnTo>
                      <a:lnTo>
                        <a:pt x="220" y="206"/>
                      </a:lnTo>
                      <a:lnTo>
                        <a:pt x="210" y="222"/>
                      </a:lnTo>
                      <a:lnTo>
                        <a:pt x="210" y="232"/>
                      </a:lnTo>
                      <a:lnTo>
                        <a:pt x="208" y="236"/>
                      </a:lnTo>
                      <a:lnTo>
                        <a:pt x="198" y="230"/>
                      </a:lnTo>
                      <a:lnTo>
                        <a:pt x="194" y="218"/>
                      </a:lnTo>
                      <a:lnTo>
                        <a:pt x="198" y="214"/>
                      </a:lnTo>
                      <a:lnTo>
                        <a:pt x="200" y="208"/>
                      </a:lnTo>
                      <a:lnTo>
                        <a:pt x="198" y="208"/>
                      </a:lnTo>
                      <a:lnTo>
                        <a:pt x="186" y="210"/>
                      </a:lnTo>
                      <a:lnTo>
                        <a:pt x="184" y="208"/>
                      </a:lnTo>
                      <a:lnTo>
                        <a:pt x="188" y="184"/>
                      </a:lnTo>
                      <a:lnTo>
                        <a:pt x="186" y="176"/>
                      </a:lnTo>
                      <a:lnTo>
                        <a:pt x="172" y="168"/>
                      </a:lnTo>
                      <a:lnTo>
                        <a:pt x="162" y="166"/>
                      </a:lnTo>
                      <a:lnTo>
                        <a:pt x="162" y="162"/>
                      </a:lnTo>
                      <a:lnTo>
                        <a:pt x="166" y="160"/>
                      </a:lnTo>
                      <a:lnTo>
                        <a:pt x="160" y="156"/>
                      </a:lnTo>
                      <a:lnTo>
                        <a:pt x="150" y="152"/>
                      </a:lnTo>
                      <a:lnTo>
                        <a:pt x="134" y="150"/>
                      </a:lnTo>
                      <a:lnTo>
                        <a:pt x="130" y="150"/>
                      </a:lnTo>
                      <a:lnTo>
                        <a:pt x="126" y="154"/>
                      </a:lnTo>
                      <a:lnTo>
                        <a:pt x="124" y="150"/>
                      </a:lnTo>
                      <a:lnTo>
                        <a:pt x="114" y="150"/>
                      </a:lnTo>
                      <a:lnTo>
                        <a:pt x="100" y="138"/>
                      </a:lnTo>
                      <a:lnTo>
                        <a:pt x="92" y="138"/>
                      </a:lnTo>
                      <a:lnTo>
                        <a:pt x="28" y="126"/>
                      </a:lnTo>
                      <a:lnTo>
                        <a:pt x="22" y="122"/>
                      </a:lnTo>
                      <a:lnTo>
                        <a:pt x="20" y="112"/>
                      </a:lnTo>
                      <a:lnTo>
                        <a:pt x="14" y="108"/>
                      </a:lnTo>
                      <a:lnTo>
                        <a:pt x="4" y="106"/>
                      </a:lnTo>
                      <a:lnTo>
                        <a:pt x="0" y="10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1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sp>
            <p:nvSpPr>
              <p:cNvPr id="27" name="Freeform 22">
                <a:extLst>
                  <a:ext uri="{FF2B5EF4-FFF2-40B4-BE49-F238E27FC236}">
                    <a16:creationId xmlns:a16="http://schemas.microsoft.com/office/drawing/2014/main" id="{7F6409F1-3EAC-4BCB-913B-D35844D6BE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78" y="2252"/>
                <a:ext cx="276" cy="488"/>
              </a:xfrm>
              <a:custGeom>
                <a:avLst/>
                <a:gdLst>
                  <a:gd name="T0" fmla="*/ 256 w 276"/>
                  <a:gd name="T1" fmla="*/ 0 h 486"/>
                  <a:gd name="T2" fmla="*/ 90 w 276"/>
                  <a:gd name="T3" fmla="*/ 14 h 486"/>
                  <a:gd name="T4" fmla="*/ 88 w 276"/>
                  <a:gd name="T5" fmla="*/ 18 h 486"/>
                  <a:gd name="T6" fmla="*/ 72 w 276"/>
                  <a:gd name="T7" fmla="*/ 32 h 486"/>
                  <a:gd name="T8" fmla="*/ 68 w 276"/>
                  <a:gd name="T9" fmla="*/ 48 h 486"/>
                  <a:gd name="T10" fmla="*/ 68 w 276"/>
                  <a:gd name="T11" fmla="*/ 62 h 486"/>
                  <a:gd name="T12" fmla="*/ 66 w 276"/>
                  <a:gd name="T13" fmla="*/ 72 h 486"/>
                  <a:gd name="T14" fmla="*/ 52 w 276"/>
                  <a:gd name="T15" fmla="*/ 80 h 486"/>
                  <a:gd name="T16" fmla="*/ 42 w 276"/>
                  <a:gd name="T17" fmla="*/ 96 h 486"/>
                  <a:gd name="T18" fmla="*/ 38 w 276"/>
                  <a:gd name="T19" fmla="*/ 100 h 486"/>
                  <a:gd name="T20" fmla="*/ 38 w 276"/>
                  <a:gd name="T21" fmla="*/ 112 h 486"/>
                  <a:gd name="T22" fmla="*/ 30 w 276"/>
                  <a:gd name="T23" fmla="*/ 123 h 486"/>
                  <a:gd name="T24" fmla="*/ 30 w 276"/>
                  <a:gd name="T25" fmla="*/ 133 h 486"/>
                  <a:gd name="T26" fmla="*/ 26 w 276"/>
                  <a:gd name="T27" fmla="*/ 145 h 486"/>
                  <a:gd name="T28" fmla="*/ 18 w 276"/>
                  <a:gd name="T29" fmla="*/ 159 h 486"/>
                  <a:gd name="T30" fmla="*/ 20 w 276"/>
                  <a:gd name="T31" fmla="*/ 175 h 486"/>
                  <a:gd name="T32" fmla="*/ 28 w 276"/>
                  <a:gd name="T33" fmla="*/ 183 h 486"/>
                  <a:gd name="T34" fmla="*/ 30 w 276"/>
                  <a:gd name="T35" fmla="*/ 193 h 486"/>
                  <a:gd name="T36" fmla="*/ 32 w 276"/>
                  <a:gd name="T37" fmla="*/ 195 h 486"/>
                  <a:gd name="T38" fmla="*/ 32 w 276"/>
                  <a:gd name="T39" fmla="*/ 199 h 486"/>
                  <a:gd name="T40" fmla="*/ 28 w 276"/>
                  <a:gd name="T41" fmla="*/ 203 h 486"/>
                  <a:gd name="T42" fmla="*/ 26 w 276"/>
                  <a:gd name="T43" fmla="*/ 211 h 486"/>
                  <a:gd name="T44" fmla="*/ 26 w 276"/>
                  <a:gd name="T45" fmla="*/ 217 h 486"/>
                  <a:gd name="T46" fmla="*/ 26 w 276"/>
                  <a:gd name="T47" fmla="*/ 225 h 486"/>
                  <a:gd name="T48" fmla="*/ 36 w 276"/>
                  <a:gd name="T49" fmla="*/ 245 h 486"/>
                  <a:gd name="T50" fmla="*/ 36 w 276"/>
                  <a:gd name="T51" fmla="*/ 263 h 486"/>
                  <a:gd name="T52" fmla="*/ 42 w 276"/>
                  <a:gd name="T53" fmla="*/ 275 h 486"/>
                  <a:gd name="T54" fmla="*/ 48 w 276"/>
                  <a:gd name="T55" fmla="*/ 279 h 486"/>
                  <a:gd name="T56" fmla="*/ 48 w 276"/>
                  <a:gd name="T57" fmla="*/ 289 h 486"/>
                  <a:gd name="T58" fmla="*/ 38 w 276"/>
                  <a:gd name="T59" fmla="*/ 295 h 486"/>
                  <a:gd name="T60" fmla="*/ 34 w 276"/>
                  <a:gd name="T61" fmla="*/ 299 h 486"/>
                  <a:gd name="T62" fmla="*/ 30 w 276"/>
                  <a:gd name="T63" fmla="*/ 319 h 486"/>
                  <a:gd name="T64" fmla="*/ 14 w 276"/>
                  <a:gd name="T65" fmla="*/ 343 h 486"/>
                  <a:gd name="T66" fmla="*/ 0 w 276"/>
                  <a:gd name="T67" fmla="*/ 386 h 486"/>
                  <a:gd name="T68" fmla="*/ 0 w 276"/>
                  <a:gd name="T69" fmla="*/ 416 h 486"/>
                  <a:gd name="T70" fmla="*/ 154 w 276"/>
                  <a:gd name="T71" fmla="*/ 410 h 486"/>
                  <a:gd name="T72" fmla="*/ 158 w 276"/>
                  <a:gd name="T73" fmla="*/ 416 h 486"/>
                  <a:gd name="T74" fmla="*/ 154 w 276"/>
                  <a:gd name="T75" fmla="*/ 430 h 486"/>
                  <a:gd name="T76" fmla="*/ 154 w 276"/>
                  <a:gd name="T77" fmla="*/ 452 h 486"/>
                  <a:gd name="T78" fmla="*/ 172 w 276"/>
                  <a:gd name="T79" fmla="*/ 468 h 486"/>
                  <a:gd name="T80" fmla="*/ 174 w 276"/>
                  <a:gd name="T81" fmla="*/ 488 h 486"/>
                  <a:gd name="T82" fmla="*/ 186 w 276"/>
                  <a:gd name="T83" fmla="*/ 488 h 486"/>
                  <a:gd name="T84" fmla="*/ 202 w 276"/>
                  <a:gd name="T85" fmla="*/ 474 h 486"/>
                  <a:gd name="T86" fmla="*/ 240 w 276"/>
                  <a:gd name="T87" fmla="*/ 462 h 486"/>
                  <a:gd name="T88" fmla="*/ 250 w 276"/>
                  <a:gd name="T89" fmla="*/ 466 h 486"/>
                  <a:gd name="T90" fmla="*/ 264 w 276"/>
                  <a:gd name="T91" fmla="*/ 462 h 486"/>
                  <a:gd name="T92" fmla="*/ 266 w 276"/>
                  <a:gd name="T93" fmla="*/ 464 h 486"/>
                  <a:gd name="T94" fmla="*/ 274 w 276"/>
                  <a:gd name="T95" fmla="*/ 468 h 486"/>
                  <a:gd name="T96" fmla="*/ 276 w 276"/>
                  <a:gd name="T97" fmla="*/ 466 h 486"/>
                  <a:gd name="T98" fmla="*/ 260 w 276"/>
                  <a:gd name="T99" fmla="*/ 317 h 486"/>
                  <a:gd name="T100" fmla="*/ 258 w 276"/>
                  <a:gd name="T101" fmla="*/ 303 h 486"/>
                  <a:gd name="T102" fmla="*/ 264 w 276"/>
                  <a:gd name="T103" fmla="*/ 10 h 486"/>
                  <a:gd name="T104" fmla="*/ 256 w 276"/>
                  <a:gd name="T105" fmla="*/ 0 h 48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76" h="486">
                    <a:moveTo>
                      <a:pt x="256" y="0"/>
                    </a:moveTo>
                    <a:lnTo>
                      <a:pt x="90" y="14"/>
                    </a:lnTo>
                    <a:lnTo>
                      <a:pt x="88" y="18"/>
                    </a:lnTo>
                    <a:lnTo>
                      <a:pt x="72" y="32"/>
                    </a:lnTo>
                    <a:lnTo>
                      <a:pt x="68" y="48"/>
                    </a:lnTo>
                    <a:lnTo>
                      <a:pt x="68" y="62"/>
                    </a:lnTo>
                    <a:lnTo>
                      <a:pt x="66" y="72"/>
                    </a:lnTo>
                    <a:lnTo>
                      <a:pt x="52" y="80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12"/>
                    </a:lnTo>
                    <a:lnTo>
                      <a:pt x="30" y="122"/>
                    </a:lnTo>
                    <a:lnTo>
                      <a:pt x="30" y="132"/>
                    </a:lnTo>
                    <a:lnTo>
                      <a:pt x="26" y="144"/>
                    </a:lnTo>
                    <a:lnTo>
                      <a:pt x="18" y="158"/>
                    </a:lnTo>
                    <a:lnTo>
                      <a:pt x="20" y="174"/>
                    </a:lnTo>
                    <a:lnTo>
                      <a:pt x="28" y="182"/>
                    </a:lnTo>
                    <a:lnTo>
                      <a:pt x="30" y="192"/>
                    </a:lnTo>
                    <a:lnTo>
                      <a:pt x="32" y="194"/>
                    </a:lnTo>
                    <a:lnTo>
                      <a:pt x="32" y="198"/>
                    </a:lnTo>
                    <a:lnTo>
                      <a:pt x="28" y="202"/>
                    </a:lnTo>
                    <a:lnTo>
                      <a:pt x="26" y="210"/>
                    </a:lnTo>
                    <a:lnTo>
                      <a:pt x="26" y="216"/>
                    </a:lnTo>
                    <a:lnTo>
                      <a:pt x="26" y="224"/>
                    </a:lnTo>
                    <a:lnTo>
                      <a:pt x="36" y="244"/>
                    </a:lnTo>
                    <a:lnTo>
                      <a:pt x="36" y="262"/>
                    </a:lnTo>
                    <a:lnTo>
                      <a:pt x="42" y="274"/>
                    </a:lnTo>
                    <a:lnTo>
                      <a:pt x="48" y="278"/>
                    </a:lnTo>
                    <a:lnTo>
                      <a:pt x="48" y="288"/>
                    </a:lnTo>
                    <a:lnTo>
                      <a:pt x="38" y="294"/>
                    </a:lnTo>
                    <a:lnTo>
                      <a:pt x="34" y="298"/>
                    </a:lnTo>
                    <a:lnTo>
                      <a:pt x="30" y="318"/>
                    </a:lnTo>
                    <a:lnTo>
                      <a:pt x="14" y="342"/>
                    </a:lnTo>
                    <a:lnTo>
                      <a:pt x="0" y="384"/>
                    </a:lnTo>
                    <a:lnTo>
                      <a:pt x="0" y="414"/>
                    </a:lnTo>
                    <a:lnTo>
                      <a:pt x="154" y="408"/>
                    </a:lnTo>
                    <a:lnTo>
                      <a:pt x="158" y="414"/>
                    </a:lnTo>
                    <a:lnTo>
                      <a:pt x="154" y="428"/>
                    </a:lnTo>
                    <a:lnTo>
                      <a:pt x="154" y="450"/>
                    </a:lnTo>
                    <a:lnTo>
                      <a:pt x="172" y="466"/>
                    </a:lnTo>
                    <a:lnTo>
                      <a:pt x="174" y="486"/>
                    </a:lnTo>
                    <a:lnTo>
                      <a:pt x="186" y="486"/>
                    </a:lnTo>
                    <a:lnTo>
                      <a:pt x="202" y="472"/>
                    </a:lnTo>
                    <a:lnTo>
                      <a:pt x="240" y="460"/>
                    </a:lnTo>
                    <a:lnTo>
                      <a:pt x="250" y="464"/>
                    </a:lnTo>
                    <a:lnTo>
                      <a:pt x="264" y="460"/>
                    </a:lnTo>
                    <a:lnTo>
                      <a:pt x="266" y="462"/>
                    </a:lnTo>
                    <a:lnTo>
                      <a:pt x="274" y="466"/>
                    </a:lnTo>
                    <a:lnTo>
                      <a:pt x="276" y="464"/>
                    </a:lnTo>
                    <a:lnTo>
                      <a:pt x="260" y="316"/>
                    </a:lnTo>
                    <a:lnTo>
                      <a:pt x="258" y="302"/>
                    </a:lnTo>
                    <a:lnTo>
                      <a:pt x="264" y="10"/>
                    </a:lnTo>
                    <a:lnTo>
                      <a:pt x="256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8" name="Freeform 23">
                <a:extLst>
                  <a:ext uri="{FF2B5EF4-FFF2-40B4-BE49-F238E27FC236}">
                    <a16:creationId xmlns:a16="http://schemas.microsoft.com/office/drawing/2014/main" id="{D4237142-8661-4F43-92B0-D4EAF9BC38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35" y="2234"/>
                <a:ext cx="306" cy="486"/>
              </a:xfrm>
              <a:custGeom>
                <a:avLst/>
                <a:gdLst>
                  <a:gd name="T0" fmla="*/ 0 w 304"/>
                  <a:gd name="T1" fmla="*/ 18 h 484"/>
                  <a:gd name="T2" fmla="*/ 8 w 304"/>
                  <a:gd name="T3" fmla="*/ 28 h 484"/>
                  <a:gd name="T4" fmla="*/ 2 w 304"/>
                  <a:gd name="T5" fmla="*/ 321 h 484"/>
                  <a:gd name="T6" fmla="*/ 4 w 304"/>
                  <a:gd name="T7" fmla="*/ 335 h 484"/>
                  <a:gd name="T8" fmla="*/ 20 w 304"/>
                  <a:gd name="T9" fmla="*/ 484 h 484"/>
                  <a:gd name="T10" fmla="*/ 24 w 304"/>
                  <a:gd name="T11" fmla="*/ 480 h 484"/>
                  <a:gd name="T12" fmla="*/ 30 w 304"/>
                  <a:gd name="T13" fmla="*/ 478 h 484"/>
                  <a:gd name="T14" fmla="*/ 42 w 304"/>
                  <a:gd name="T15" fmla="*/ 482 h 484"/>
                  <a:gd name="T16" fmla="*/ 46 w 304"/>
                  <a:gd name="T17" fmla="*/ 476 h 484"/>
                  <a:gd name="T18" fmla="*/ 48 w 304"/>
                  <a:gd name="T19" fmla="*/ 454 h 484"/>
                  <a:gd name="T20" fmla="*/ 54 w 304"/>
                  <a:gd name="T21" fmla="*/ 440 h 484"/>
                  <a:gd name="T22" fmla="*/ 62 w 304"/>
                  <a:gd name="T23" fmla="*/ 454 h 484"/>
                  <a:gd name="T24" fmla="*/ 60 w 304"/>
                  <a:gd name="T25" fmla="*/ 460 h 484"/>
                  <a:gd name="T26" fmla="*/ 64 w 304"/>
                  <a:gd name="T27" fmla="*/ 472 h 484"/>
                  <a:gd name="T28" fmla="*/ 74 w 304"/>
                  <a:gd name="T29" fmla="*/ 486 h 484"/>
                  <a:gd name="T30" fmla="*/ 83 w 304"/>
                  <a:gd name="T31" fmla="*/ 486 h 484"/>
                  <a:gd name="T32" fmla="*/ 91 w 304"/>
                  <a:gd name="T33" fmla="*/ 486 h 484"/>
                  <a:gd name="T34" fmla="*/ 101 w 304"/>
                  <a:gd name="T35" fmla="*/ 474 h 484"/>
                  <a:gd name="T36" fmla="*/ 103 w 304"/>
                  <a:gd name="T37" fmla="*/ 474 h 484"/>
                  <a:gd name="T38" fmla="*/ 107 w 304"/>
                  <a:gd name="T39" fmla="*/ 470 h 484"/>
                  <a:gd name="T40" fmla="*/ 107 w 304"/>
                  <a:gd name="T41" fmla="*/ 468 h 484"/>
                  <a:gd name="T42" fmla="*/ 107 w 304"/>
                  <a:gd name="T43" fmla="*/ 466 h 484"/>
                  <a:gd name="T44" fmla="*/ 101 w 304"/>
                  <a:gd name="T45" fmla="*/ 462 h 484"/>
                  <a:gd name="T46" fmla="*/ 101 w 304"/>
                  <a:gd name="T47" fmla="*/ 460 h 484"/>
                  <a:gd name="T48" fmla="*/ 105 w 304"/>
                  <a:gd name="T49" fmla="*/ 452 h 484"/>
                  <a:gd name="T50" fmla="*/ 105 w 304"/>
                  <a:gd name="T51" fmla="*/ 448 h 484"/>
                  <a:gd name="T52" fmla="*/ 97 w 304"/>
                  <a:gd name="T53" fmla="*/ 444 h 484"/>
                  <a:gd name="T54" fmla="*/ 95 w 304"/>
                  <a:gd name="T55" fmla="*/ 442 h 484"/>
                  <a:gd name="T56" fmla="*/ 91 w 304"/>
                  <a:gd name="T57" fmla="*/ 438 h 484"/>
                  <a:gd name="T58" fmla="*/ 85 w 304"/>
                  <a:gd name="T59" fmla="*/ 430 h 484"/>
                  <a:gd name="T60" fmla="*/ 83 w 304"/>
                  <a:gd name="T61" fmla="*/ 422 h 484"/>
                  <a:gd name="T62" fmla="*/ 87 w 304"/>
                  <a:gd name="T63" fmla="*/ 420 h 484"/>
                  <a:gd name="T64" fmla="*/ 85 w 304"/>
                  <a:gd name="T65" fmla="*/ 418 h 484"/>
                  <a:gd name="T66" fmla="*/ 85 w 304"/>
                  <a:gd name="T67" fmla="*/ 412 h 484"/>
                  <a:gd name="T68" fmla="*/ 306 w 304"/>
                  <a:gd name="T69" fmla="*/ 392 h 484"/>
                  <a:gd name="T70" fmla="*/ 304 w 304"/>
                  <a:gd name="T71" fmla="*/ 386 h 484"/>
                  <a:gd name="T72" fmla="*/ 294 w 304"/>
                  <a:gd name="T73" fmla="*/ 370 h 484"/>
                  <a:gd name="T74" fmla="*/ 296 w 304"/>
                  <a:gd name="T75" fmla="*/ 343 h 484"/>
                  <a:gd name="T76" fmla="*/ 286 w 304"/>
                  <a:gd name="T77" fmla="*/ 321 h 484"/>
                  <a:gd name="T78" fmla="*/ 284 w 304"/>
                  <a:gd name="T79" fmla="*/ 305 h 484"/>
                  <a:gd name="T80" fmla="*/ 290 w 304"/>
                  <a:gd name="T81" fmla="*/ 293 h 484"/>
                  <a:gd name="T82" fmla="*/ 290 w 304"/>
                  <a:gd name="T83" fmla="*/ 279 h 484"/>
                  <a:gd name="T84" fmla="*/ 298 w 304"/>
                  <a:gd name="T85" fmla="*/ 267 h 484"/>
                  <a:gd name="T86" fmla="*/ 298 w 304"/>
                  <a:gd name="T87" fmla="*/ 265 h 484"/>
                  <a:gd name="T88" fmla="*/ 292 w 304"/>
                  <a:gd name="T89" fmla="*/ 257 h 484"/>
                  <a:gd name="T90" fmla="*/ 294 w 304"/>
                  <a:gd name="T91" fmla="*/ 247 h 484"/>
                  <a:gd name="T92" fmla="*/ 288 w 304"/>
                  <a:gd name="T93" fmla="*/ 243 h 484"/>
                  <a:gd name="T94" fmla="*/ 280 w 304"/>
                  <a:gd name="T95" fmla="*/ 237 h 484"/>
                  <a:gd name="T96" fmla="*/ 278 w 304"/>
                  <a:gd name="T97" fmla="*/ 231 h 484"/>
                  <a:gd name="T98" fmla="*/ 274 w 304"/>
                  <a:gd name="T99" fmla="*/ 215 h 484"/>
                  <a:gd name="T100" fmla="*/ 268 w 304"/>
                  <a:gd name="T101" fmla="*/ 211 h 484"/>
                  <a:gd name="T102" fmla="*/ 209 w 304"/>
                  <a:gd name="T103" fmla="*/ 0 h 484"/>
                  <a:gd name="T104" fmla="*/ 0 w 304"/>
                  <a:gd name="T105" fmla="*/ 18 h 48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304" h="484">
                    <a:moveTo>
                      <a:pt x="0" y="18"/>
                    </a:moveTo>
                    <a:lnTo>
                      <a:pt x="8" y="28"/>
                    </a:lnTo>
                    <a:lnTo>
                      <a:pt x="2" y="320"/>
                    </a:lnTo>
                    <a:lnTo>
                      <a:pt x="4" y="334"/>
                    </a:lnTo>
                    <a:lnTo>
                      <a:pt x="20" y="482"/>
                    </a:lnTo>
                    <a:lnTo>
                      <a:pt x="24" y="478"/>
                    </a:lnTo>
                    <a:lnTo>
                      <a:pt x="30" y="476"/>
                    </a:lnTo>
                    <a:lnTo>
                      <a:pt x="42" y="480"/>
                    </a:lnTo>
                    <a:lnTo>
                      <a:pt x="46" y="474"/>
                    </a:lnTo>
                    <a:lnTo>
                      <a:pt x="48" y="452"/>
                    </a:lnTo>
                    <a:lnTo>
                      <a:pt x="54" y="438"/>
                    </a:lnTo>
                    <a:lnTo>
                      <a:pt x="62" y="452"/>
                    </a:lnTo>
                    <a:lnTo>
                      <a:pt x="60" y="458"/>
                    </a:lnTo>
                    <a:lnTo>
                      <a:pt x="64" y="470"/>
                    </a:lnTo>
                    <a:lnTo>
                      <a:pt x="74" y="484"/>
                    </a:lnTo>
                    <a:lnTo>
                      <a:pt x="82" y="484"/>
                    </a:lnTo>
                    <a:lnTo>
                      <a:pt x="90" y="484"/>
                    </a:lnTo>
                    <a:lnTo>
                      <a:pt x="100" y="472"/>
                    </a:lnTo>
                    <a:lnTo>
                      <a:pt x="102" y="472"/>
                    </a:lnTo>
                    <a:lnTo>
                      <a:pt x="106" y="468"/>
                    </a:lnTo>
                    <a:lnTo>
                      <a:pt x="106" y="466"/>
                    </a:lnTo>
                    <a:lnTo>
                      <a:pt x="106" y="464"/>
                    </a:lnTo>
                    <a:lnTo>
                      <a:pt x="100" y="460"/>
                    </a:lnTo>
                    <a:lnTo>
                      <a:pt x="100" y="458"/>
                    </a:lnTo>
                    <a:lnTo>
                      <a:pt x="104" y="450"/>
                    </a:lnTo>
                    <a:lnTo>
                      <a:pt x="104" y="446"/>
                    </a:lnTo>
                    <a:lnTo>
                      <a:pt x="96" y="442"/>
                    </a:lnTo>
                    <a:lnTo>
                      <a:pt x="94" y="440"/>
                    </a:lnTo>
                    <a:lnTo>
                      <a:pt x="90" y="436"/>
                    </a:lnTo>
                    <a:lnTo>
                      <a:pt x="84" y="428"/>
                    </a:lnTo>
                    <a:lnTo>
                      <a:pt x="82" y="420"/>
                    </a:lnTo>
                    <a:lnTo>
                      <a:pt x="86" y="418"/>
                    </a:lnTo>
                    <a:lnTo>
                      <a:pt x="84" y="416"/>
                    </a:lnTo>
                    <a:lnTo>
                      <a:pt x="84" y="410"/>
                    </a:lnTo>
                    <a:lnTo>
                      <a:pt x="304" y="390"/>
                    </a:lnTo>
                    <a:lnTo>
                      <a:pt x="302" y="384"/>
                    </a:lnTo>
                    <a:lnTo>
                      <a:pt x="292" y="368"/>
                    </a:lnTo>
                    <a:lnTo>
                      <a:pt x="294" y="342"/>
                    </a:lnTo>
                    <a:lnTo>
                      <a:pt x="284" y="320"/>
                    </a:lnTo>
                    <a:lnTo>
                      <a:pt x="282" y="304"/>
                    </a:lnTo>
                    <a:lnTo>
                      <a:pt x="288" y="292"/>
                    </a:lnTo>
                    <a:lnTo>
                      <a:pt x="288" y="278"/>
                    </a:lnTo>
                    <a:lnTo>
                      <a:pt x="296" y="266"/>
                    </a:lnTo>
                    <a:lnTo>
                      <a:pt x="296" y="264"/>
                    </a:lnTo>
                    <a:lnTo>
                      <a:pt x="290" y="256"/>
                    </a:lnTo>
                    <a:lnTo>
                      <a:pt x="292" y="246"/>
                    </a:lnTo>
                    <a:lnTo>
                      <a:pt x="286" y="242"/>
                    </a:lnTo>
                    <a:lnTo>
                      <a:pt x="278" y="236"/>
                    </a:lnTo>
                    <a:lnTo>
                      <a:pt x="276" y="230"/>
                    </a:lnTo>
                    <a:lnTo>
                      <a:pt x="272" y="214"/>
                    </a:lnTo>
                    <a:lnTo>
                      <a:pt x="266" y="210"/>
                    </a:lnTo>
                    <a:lnTo>
                      <a:pt x="208" y="0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9" name="Freeform 25">
                <a:extLst>
                  <a:ext uri="{FF2B5EF4-FFF2-40B4-BE49-F238E27FC236}">
                    <a16:creationId xmlns:a16="http://schemas.microsoft.com/office/drawing/2014/main" id="{5F79A90D-9601-4D22-BD95-C812BFC50D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7" y="2167"/>
                <a:ext cx="407" cy="305"/>
              </a:xfrm>
              <a:custGeom>
                <a:avLst/>
                <a:gdLst>
                  <a:gd name="T0" fmla="*/ 240 w 404"/>
                  <a:gd name="T1" fmla="*/ 305 h 304"/>
                  <a:gd name="T2" fmla="*/ 226 w 404"/>
                  <a:gd name="T3" fmla="*/ 301 h 304"/>
                  <a:gd name="T4" fmla="*/ 218 w 404"/>
                  <a:gd name="T5" fmla="*/ 277 h 304"/>
                  <a:gd name="T6" fmla="*/ 195 w 404"/>
                  <a:gd name="T7" fmla="*/ 257 h 304"/>
                  <a:gd name="T8" fmla="*/ 179 w 404"/>
                  <a:gd name="T9" fmla="*/ 229 h 304"/>
                  <a:gd name="T10" fmla="*/ 169 w 404"/>
                  <a:gd name="T11" fmla="*/ 215 h 304"/>
                  <a:gd name="T12" fmla="*/ 147 w 404"/>
                  <a:gd name="T13" fmla="*/ 197 h 304"/>
                  <a:gd name="T14" fmla="*/ 137 w 404"/>
                  <a:gd name="T15" fmla="*/ 185 h 304"/>
                  <a:gd name="T16" fmla="*/ 129 w 404"/>
                  <a:gd name="T17" fmla="*/ 173 h 304"/>
                  <a:gd name="T18" fmla="*/ 89 w 404"/>
                  <a:gd name="T19" fmla="*/ 144 h 304"/>
                  <a:gd name="T20" fmla="*/ 75 w 404"/>
                  <a:gd name="T21" fmla="*/ 132 h 304"/>
                  <a:gd name="T22" fmla="*/ 56 w 404"/>
                  <a:gd name="T23" fmla="*/ 106 h 304"/>
                  <a:gd name="T24" fmla="*/ 44 w 404"/>
                  <a:gd name="T25" fmla="*/ 92 h 304"/>
                  <a:gd name="T26" fmla="*/ 6 w 404"/>
                  <a:gd name="T27" fmla="*/ 78 h 304"/>
                  <a:gd name="T28" fmla="*/ 8 w 404"/>
                  <a:gd name="T29" fmla="*/ 56 h 304"/>
                  <a:gd name="T30" fmla="*/ 16 w 404"/>
                  <a:gd name="T31" fmla="*/ 46 h 304"/>
                  <a:gd name="T32" fmla="*/ 16 w 404"/>
                  <a:gd name="T33" fmla="*/ 40 h 304"/>
                  <a:gd name="T34" fmla="*/ 48 w 404"/>
                  <a:gd name="T35" fmla="*/ 28 h 304"/>
                  <a:gd name="T36" fmla="*/ 69 w 404"/>
                  <a:gd name="T37" fmla="*/ 14 h 304"/>
                  <a:gd name="T38" fmla="*/ 75 w 404"/>
                  <a:gd name="T39" fmla="*/ 12 h 304"/>
                  <a:gd name="T40" fmla="*/ 181 w 404"/>
                  <a:gd name="T41" fmla="*/ 2 h 304"/>
                  <a:gd name="T42" fmla="*/ 183 w 404"/>
                  <a:gd name="T43" fmla="*/ 10 h 304"/>
                  <a:gd name="T44" fmla="*/ 208 w 404"/>
                  <a:gd name="T45" fmla="*/ 18 h 304"/>
                  <a:gd name="T46" fmla="*/ 298 w 404"/>
                  <a:gd name="T47" fmla="*/ 18 h 304"/>
                  <a:gd name="T48" fmla="*/ 403 w 404"/>
                  <a:gd name="T49" fmla="*/ 94 h 304"/>
                  <a:gd name="T50" fmla="*/ 387 w 404"/>
                  <a:gd name="T51" fmla="*/ 110 h 304"/>
                  <a:gd name="T52" fmla="*/ 369 w 404"/>
                  <a:gd name="T53" fmla="*/ 138 h 304"/>
                  <a:gd name="T54" fmla="*/ 367 w 404"/>
                  <a:gd name="T55" fmla="*/ 161 h 304"/>
                  <a:gd name="T56" fmla="*/ 363 w 404"/>
                  <a:gd name="T57" fmla="*/ 173 h 304"/>
                  <a:gd name="T58" fmla="*/ 355 w 404"/>
                  <a:gd name="T59" fmla="*/ 179 h 304"/>
                  <a:gd name="T60" fmla="*/ 345 w 404"/>
                  <a:gd name="T61" fmla="*/ 189 h 304"/>
                  <a:gd name="T62" fmla="*/ 334 w 404"/>
                  <a:gd name="T63" fmla="*/ 205 h 304"/>
                  <a:gd name="T64" fmla="*/ 314 w 404"/>
                  <a:gd name="T65" fmla="*/ 225 h 304"/>
                  <a:gd name="T66" fmla="*/ 296 w 404"/>
                  <a:gd name="T67" fmla="*/ 239 h 304"/>
                  <a:gd name="T68" fmla="*/ 286 w 404"/>
                  <a:gd name="T69" fmla="*/ 249 h 304"/>
                  <a:gd name="T70" fmla="*/ 274 w 404"/>
                  <a:gd name="T71" fmla="*/ 255 h 304"/>
                  <a:gd name="T72" fmla="*/ 272 w 404"/>
                  <a:gd name="T73" fmla="*/ 261 h 304"/>
                  <a:gd name="T74" fmla="*/ 268 w 404"/>
                  <a:gd name="T75" fmla="*/ 271 h 304"/>
                  <a:gd name="T76" fmla="*/ 254 w 404"/>
                  <a:gd name="T77" fmla="*/ 277 h 304"/>
                  <a:gd name="T78" fmla="*/ 252 w 404"/>
                  <a:gd name="T79" fmla="*/ 279 h 304"/>
                  <a:gd name="T80" fmla="*/ 256 w 404"/>
                  <a:gd name="T81" fmla="*/ 283 h 304"/>
                  <a:gd name="T82" fmla="*/ 256 w 404"/>
                  <a:gd name="T83" fmla="*/ 289 h 304"/>
                  <a:gd name="T84" fmla="*/ 246 w 404"/>
                  <a:gd name="T85" fmla="*/ 297 h 304"/>
                  <a:gd name="T86" fmla="*/ 244 w 404"/>
                  <a:gd name="T87" fmla="*/ 305 h 30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04" h="304">
                    <a:moveTo>
                      <a:pt x="242" y="304"/>
                    </a:moveTo>
                    <a:lnTo>
                      <a:pt x="238" y="304"/>
                    </a:lnTo>
                    <a:lnTo>
                      <a:pt x="226" y="302"/>
                    </a:lnTo>
                    <a:lnTo>
                      <a:pt x="224" y="300"/>
                    </a:lnTo>
                    <a:lnTo>
                      <a:pt x="220" y="296"/>
                    </a:lnTo>
                    <a:lnTo>
                      <a:pt x="216" y="276"/>
                    </a:lnTo>
                    <a:lnTo>
                      <a:pt x="206" y="262"/>
                    </a:lnTo>
                    <a:lnTo>
                      <a:pt x="194" y="256"/>
                    </a:lnTo>
                    <a:lnTo>
                      <a:pt x="188" y="236"/>
                    </a:lnTo>
                    <a:lnTo>
                      <a:pt x="178" y="228"/>
                    </a:lnTo>
                    <a:lnTo>
                      <a:pt x="176" y="216"/>
                    </a:lnTo>
                    <a:lnTo>
                      <a:pt x="168" y="214"/>
                    </a:lnTo>
                    <a:lnTo>
                      <a:pt x="154" y="208"/>
                    </a:lnTo>
                    <a:lnTo>
                      <a:pt x="146" y="196"/>
                    </a:lnTo>
                    <a:lnTo>
                      <a:pt x="136" y="190"/>
                    </a:lnTo>
                    <a:lnTo>
                      <a:pt x="136" y="184"/>
                    </a:lnTo>
                    <a:lnTo>
                      <a:pt x="132" y="174"/>
                    </a:lnTo>
                    <a:lnTo>
                      <a:pt x="128" y="172"/>
                    </a:lnTo>
                    <a:lnTo>
                      <a:pt x="114" y="166"/>
                    </a:lnTo>
                    <a:lnTo>
                      <a:pt x="88" y="144"/>
                    </a:lnTo>
                    <a:lnTo>
                      <a:pt x="76" y="140"/>
                    </a:lnTo>
                    <a:lnTo>
                      <a:pt x="74" y="132"/>
                    </a:lnTo>
                    <a:lnTo>
                      <a:pt x="62" y="122"/>
                    </a:lnTo>
                    <a:lnTo>
                      <a:pt x="56" y="106"/>
                    </a:lnTo>
                    <a:lnTo>
                      <a:pt x="48" y="98"/>
                    </a:lnTo>
                    <a:lnTo>
                      <a:pt x="44" y="92"/>
                    </a:lnTo>
                    <a:lnTo>
                      <a:pt x="28" y="90"/>
                    </a:lnTo>
                    <a:lnTo>
                      <a:pt x="6" y="78"/>
                    </a:lnTo>
                    <a:lnTo>
                      <a:pt x="0" y="72"/>
                    </a:lnTo>
                    <a:lnTo>
                      <a:pt x="8" y="56"/>
                    </a:lnTo>
                    <a:lnTo>
                      <a:pt x="12" y="52"/>
                    </a:lnTo>
                    <a:lnTo>
                      <a:pt x="16" y="46"/>
                    </a:lnTo>
                    <a:lnTo>
                      <a:pt x="18" y="42"/>
                    </a:lnTo>
                    <a:lnTo>
                      <a:pt x="16" y="40"/>
                    </a:lnTo>
                    <a:lnTo>
                      <a:pt x="40" y="28"/>
                    </a:lnTo>
                    <a:lnTo>
                      <a:pt x="48" y="28"/>
                    </a:lnTo>
                    <a:lnTo>
                      <a:pt x="48" y="24"/>
                    </a:lnTo>
                    <a:lnTo>
                      <a:pt x="68" y="14"/>
                    </a:lnTo>
                    <a:lnTo>
                      <a:pt x="70" y="10"/>
                    </a:lnTo>
                    <a:lnTo>
                      <a:pt x="74" y="12"/>
                    </a:lnTo>
                    <a:lnTo>
                      <a:pt x="178" y="0"/>
                    </a:lnTo>
                    <a:lnTo>
                      <a:pt x="180" y="2"/>
                    </a:lnTo>
                    <a:lnTo>
                      <a:pt x="178" y="6"/>
                    </a:lnTo>
                    <a:lnTo>
                      <a:pt x="182" y="10"/>
                    </a:lnTo>
                    <a:lnTo>
                      <a:pt x="188" y="4"/>
                    </a:lnTo>
                    <a:lnTo>
                      <a:pt x="206" y="18"/>
                    </a:lnTo>
                    <a:lnTo>
                      <a:pt x="208" y="30"/>
                    </a:lnTo>
                    <a:lnTo>
                      <a:pt x="296" y="18"/>
                    </a:lnTo>
                    <a:lnTo>
                      <a:pt x="404" y="92"/>
                    </a:lnTo>
                    <a:lnTo>
                      <a:pt x="400" y="94"/>
                    </a:lnTo>
                    <a:lnTo>
                      <a:pt x="390" y="100"/>
                    </a:lnTo>
                    <a:lnTo>
                      <a:pt x="384" y="110"/>
                    </a:lnTo>
                    <a:lnTo>
                      <a:pt x="370" y="130"/>
                    </a:lnTo>
                    <a:lnTo>
                      <a:pt x="366" y="138"/>
                    </a:lnTo>
                    <a:lnTo>
                      <a:pt x="362" y="150"/>
                    </a:lnTo>
                    <a:lnTo>
                      <a:pt x="364" y="160"/>
                    </a:lnTo>
                    <a:lnTo>
                      <a:pt x="364" y="168"/>
                    </a:lnTo>
                    <a:lnTo>
                      <a:pt x="360" y="172"/>
                    </a:lnTo>
                    <a:lnTo>
                      <a:pt x="358" y="178"/>
                    </a:lnTo>
                    <a:lnTo>
                      <a:pt x="352" y="178"/>
                    </a:lnTo>
                    <a:lnTo>
                      <a:pt x="346" y="182"/>
                    </a:lnTo>
                    <a:lnTo>
                      <a:pt x="342" y="188"/>
                    </a:lnTo>
                    <a:lnTo>
                      <a:pt x="336" y="196"/>
                    </a:lnTo>
                    <a:lnTo>
                      <a:pt x="332" y="204"/>
                    </a:lnTo>
                    <a:lnTo>
                      <a:pt x="318" y="214"/>
                    </a:lnTo>
                    <a:lnTo>
                      <a:pt x="312" y="224"/>
                    </a:lnTo>
                    <a:lnTo>
                      <a:pt x="304" y="232"/>
                    </a:lnTo>
                    <a:lnTo>
                      <a:pt x="294" y="238"/>
                    </a:lnTo>
                    <a:lnTo>
                      <a:pt x="290" y="244"/>
                    </a:lnTo>
                    <a:lnTo>
                      <a:pt x="284" y="248"/>
                    </a:lnTo>
                    <a:lnTo>
                      <a:pt x="276" y="252"/>
                    </a:lnTo>
                    <a:lnTo>
                      <a:pt x="272" y="254"/>
                    </a:lnTo>
                    <a:lnTo>
                      <a:pt x="268" y="258"/>
                    </a:lnTo>
                    <a:lnTo>
                      <a:pt x="270" y="260"/>
                    </a:lnTo>
                    <a:lnTo>
                      <a:pt x="268" y="262"/>
                    </a:lnTo>
                    <a:lnTo>
                      <a:pt x="266" y="270"/>
                    </a:lnTo>
                    <a:lnTo>
                      <a:pt x="258" y="276"/>
                    </a:lnTo>
                    <a:lnTo>
                      <a:pt x="252" y="276"/>
                    </a:lnTo>
                    <a:lnTo>
                      <a:pt x="250" y="278"/>
                    </a:lnTo>
                    <a:lnTo>
                      <a:pt x="252" y="280"/>
                    </a:lnTo>
                    <a:lnTo>
                      <a:pt x="254" y="282"/>
                    </a:lnTo>
                    <a:lnTo>
                      <a:pt x="256" y="284"/>
                    </a:lnTo>
                    <a:lnTo>
                      <a:pt x="254" y="288"/>
                    </a:lnTo>
                    <a:lnTo>
                      <a:pt x="252" y="290"/>
                    </a:lnTo>
                    <a:lnTo>
                      <a:pt x="244" y="296"/>
                    </a:lnTo>
                    <a:lnTo>
                      <a:pt x="242" y="302"/>
                    </a:lnTo>
                    <a:lnTo>
                      <a:pt x="242" y="30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" name="Freeform 26">
                <a:extLst>
                  <a:ext uri="{FF2B5EF4-FFF2-40B4-BE49-F238E27FC236}">
                    <a16:creationId xmlns:a16="http://schemas.microsoft.com/office/drawing/2014/main" id="{B819257A-C2BA-4F8C-B75D-DD83BD5EFA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44" y="2208"/>
                <a:ext cx="433" cy="447"/>
              </a:xfrm>
              <a:custGeom>
                <a:avLst/>
                <a:gdLst>
                  <a:gd name="T0" fmla="*/ 58 w 432"/>
                  <a:gd name="T1" fmla="*/ 237 h 446"/>
                  <a:gd name="T2" fmla="*/ 68 w 432"/>
                  <a:gd name="T3" fmla="*/ 257 h 446"/>
                  <a:gd name="T4" fmla="*/ 78 w 432"/>
                  <a:gd name="T5" fmla="*/ 269 h 446"/>
                  <a:gd name="T6" fmla="*/ 82 w 432"/>
                  <a:gd name="T7" fmla="*/ 283 h 446"/>
                  <a:gd name="T8" fmla="*/ 88 w 432"/>
                  <a:gd name="T9" fmla="*/ 293 h 446"/>
                  <a:gd name="T10" fmla="*/ 80 w 432"/>
                  <a:gd name="T11" fmla="*/ 319 h 446"/>
                  <a:gd name="T12" fmla="*/ 76 w 432"/>
                  <a:gd name="T13" fmla="*/ 347 h 446"/>
                  <a:gd name="T14" fmla="*/ 84 w 432"/>
                  <a:gd name="T15" fmla="*/ 395 h 446"/>
                  <a:gd name="T16" fmla="*/ 96 w 432"/>
                  <a:gd name="T17" fmla="*/ 417 h 446"/>
                  <a:gd name="T18" fmla="*/ 104 w 432"/>
                  <a:gd name="T19" fmla="*/ 429 h 446"/>
                  <a:gd name="T20" fmla="*/ 110 w 432"/>
                  <a:gd name="T21" fmla="*/ 443 h 446"/>
                  <a:gd name="T22" fmla="*/ 341 w 432"/>
                  <a:gd name="T23" fmla="*/ 441 h 446"/>
                  <a:gd name="T24" fmla="*/ 355 w 432"/>
                  <a:gd name="T25" fmla="*/ 447 h 446"/>
                  <a:gd name="T26" fmla="*/ 351 w 432"/>
                  <a:gd name="T27" fmla="*/ 413 h 446"/>
                  <a:gd name="T28" fmla="*/ 353 w 432"/>
                  <a:gd name="T29" fmla="*/ 401 h 446"/>
                  <a:gd name="T30" fmla="*/ 377 w 432"/>
                  <a:gd name="T31" fmla="*/ 403 h 446"/>
                  <a:gd name="T32" fmla="*/ 397 w 432"/>
                  <a:gd name="T33" fmla="*/ 403 h 446"/>
                  <a:gd name="T34" fmla="*/ 393 w 432"/>
                  <a:gd name="T35" fmla="*/ 377 h 446"/>
                  <a:gd name="T36" fmla="*/ 395 w 432"/>
                  <a:gd name="T37" fmla="*/ 359 h 446"/>
                  <a:gd name="T38" fmla="*/ 409 w 432"/>
                  <a:gd name="T39" fmla="*/ 311 h 446"/>
                  <a:gd name="T40" fmla="*/ 421 w 432"/>
                  <a:gd name="T41" fmla="*/ 281 h 446"/>
                  <a:gd name="T42" fmla="*/ 431 w 432"/>
                  <a:gd name="T43" fmla="*/ 273 h 446"/>
                  <a:gd name="T44" fmla="*/ 427 w 432"/>
                  <a:gd name="T45" fmla="*/ 267 h 446"/>
                  <a:gd name="T46" fmla="*/ 423 w 432"/>
                  <a:gd name="T47" fmla="*/ 265 h 446"/>
                  <a:gd name="T48" fmla="*/ 409 w 432"/>
                  <a:gd name="T49" fmla="*/ 261 h 446"/>
                  <a:gd name="T50" fmla="*/ 401 w 432"/>
                  <a:gd name="T51" fmla="*/ 237 h 446"/>
                  <a:gd name="T52" fmla="*/ 379 w 432"/>
                  <a:gd name="T53" fmla="*/ 216 h 446"/>
                  <a:gd name="T54" fmla="*/ 363 w 432"/>
                  <a:gd name="T55" fmla="*/ 188 h 446"/>
                  <a:gd name="T56" fmla="*/ 353 w 432"/>
                  <a:gd name="T57" fmla="*/ 174 h 446"/>
                  <a:gd name="T58" fmla="*/ 331 w 432"/>
                  <a:gd name="T59" fmla="*/ 156 h 446"/>
                  <a:gd name="T60" fmla="*/ 321 w 432"/>
                  <a:gd name="T61" fmla="*/ 144 h 446"/>
                  <a:gd name="T62" fmla="*/ 313 w 432"/>
                  <a:gd name="T63" fmla="*/ 132 h 446"/>
                  <a:gd name="T64" fmla="*/ 273 w 432"/>
                  <a:gd name="T65" fmla="*/ 104 h 446"/>
                  <a:gd name="T66" fmla="*/ 259 w 432"/>
                  <a:gd name="T67" fmla="*/ 92 h 446"/>
                  <a:gd name="T68" fmla="*/ 241 w 432"/>
                  <a:gd name="T69" fmla="*/ 66 h 446"/>
                  <a:gd name="T70" fmla="*/ 229 w 432"/>
                  <a:gd name="T71" fmla="*/ 52 h 446"/>
                  <a:gd name="T72" fmla="*/ 190 w 432"/>
                  <a:gd name="T73" fmla="*/ 38 h 446"/>
                  <a:gd name="T74" fmla="*/ 192 w 432"/>
                  <a:gd name="T75" fmla="*/ 16 h 446"/>
                  <a:gd name="T76" fmla="*/ 200 w 432"/>
                  <a:gd name="T77" fmla="*/ 6 h 446"/>
                  <a:gd name="T78" fmla="*/ 200 w 432"/>
                  <a:gd name="T79" fmla="*/ 0 h 446"/>
                  <a:gd name="T80" fmla="*/ 0 w 432"/>
                  <a:gd name="T81" fmla="*/ 26 h 44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432" h="446">
                    <a:moveTo>
                      <a:pt x="0" y="26"/>
                    </a:moveTo>
                    <a:lnTo>
                      <a:pt x="58" y="236"/>
                    </a:lnTo>
                    <a:lnTo>
                      <a:pt x="64" y="240"/>
                    </a:lnTo>
                    <a:lnTo>
                      <a:pt x="68" y="256"/>
                    </a:lnTo>
                    <a:lnTo>
                      <a:pt x="70" y="262"/>
                    </a:lnTo>
                    <a:lnTo>
                      <a:pt x="78" y="268"/>
                    </a:lnTo>
                    <a:lnTo>
                      <a:pt x="84" y="272"/>
                    </a:lnTo>
                    <a:lnTo>
                      <a:pt x="82" y="282"/>
                    </a:lnTo>
                    <a:lnTo>
                      <a:pt x="88" y="290"/>
                    </a:lnTo>
                    <a:lnTo>
                      <a:pt x="88" y="292"/>
                    </a:lnTo>
                    <a:lnTo>
                      <a:pt x="80" y="304"/>
                    </a:lnTo>
                    <a:lnTo>
                      <a:pt x="80" y="318"/>
                    </a:lnTo>
                    <a:lnTo>
                      <a:pt x="74" y="330"/>
                    </a:lnTo>
                    <a:lnTo>
                      <a:pt x="76" y="346"/>
                    </a:lnTo>
                    <a:lnTo>
                      <a:pt x="86" y="368"/>
                    </a:lnTo>
                    <a:lnTo>
                      <a:pt x="84" y="394"/>
                    </a:lnTo>
                    <a:lnTo>
                      <a:pt x="94" y="410"/>
                    </a:lnTo>
                    <a:lnTo>
                      <a:pt x="96" y="416"/>
                    </a:lnTo>
                    <a:lnTo>
                      <a:pt x="96" y="420"/>
                    </a:lnTo>
                    <a:lnTo>
                      <a:pt x="104" y="428"/>
                    </a:lnTo>
                    <a:lnTo>
                      <a:pt x="104" y="434"/>
                    </a:lnTo>
                    <a:lnTo>
                      <a:pt x="110" y="442"/>
                    </a:lnTo>
                    <a:lnTo>
                      <a:pt x="336" y="428"/>
                    </a:lnTo>
                    <a:lnTo>
                      <a:pt x="340" y="440"/>
                    </a:lnTo>
                    <a:lnTo>
                      <a:pt x="342" y="444"/>
                    </a:lnTo>
                    <a:lnTo>
                      <a:pt x="354" y="446"/>
                    </a:lnTo>
                    <a:lnTo>
                      <a:pt x="356" y="434"/>
                    </a:lnTo>
                    <a:lnTo>
                      <a:pt x="350" y="412"/>
                    </a:lnTo>
                    <a:lnTo>
                      <a:pt x="350" y="404"/>
                    </a:lnTo>
                    <a:lnTo>
                      <a:pt x="352" y="400"/>
                    </a:lnTo>
                    <a:lnTo>
                      <a:pt x="360" y="396"/>
                    </a:lnTo>
                    <a:lnTo>
                      <a:pt x="376" y="402"/>
                    </a:lnTo>
                    <a:lnTo>
                      <a:pt x="390" y="404"/>
                    </a:lnTo>
                    <a:lnTo>
                      <a:pt x="396" y="402"/>
                    </a:lnTo>
                    <a:lnTo>
                      <a:pt x="394" y="386"/>
                    </a:lnTo>
                    <a:lnTo>
                      <a:pt x="392" y="376"/>
                    </a:lnTo>
                    <a:lnTo>
                      <a:pt x="392" y="366"/>
                    </a:lnTo>
                    <a:lnTo>
                      <a:pt x="394" y="358"/>
                    </a:lnTo>
                    <a:lnTo>
                      <a:pt x="406" y="324"/>
                    </a:lnTo>
                    <a:lnTo>
                      <a:pt x="408" y="310"/>
                    </a:lnTo>
                    <a:lnTo>
                      <a:pt x="412" y="296"/>
                    </a:lnTo>
                    <a:lnTo>
                      <a:pt x="420" y="280"/>
                    </a:lnTo>
                    <a:lnTo>
                      <a:pt x="428" y="274"/>
                    </a:lnTo>
                    <a:lnTo>
                      <a:pt x="430" y="272"/>
                    </a:lnTo>
                    <a:lnTo>
                      <a:pt x="432" y="268"/>
                    </a:lnTo>
                    <a:lnTo>
                      <a:pt x="426" y="266"/>
                    </a:lnTo>
                    <a:lnTo>
                      <a:pt x="426" y="264"/>
                    </a:lnTo>
                    <a:lnTo>
                      <a:pt x="422" y="264"/>
                    </a:lnTo>
                    <a:lnTo>
                      <a:pt x="410" y="262"/>
                    </a:lnTo>
                    <a:lnTo>
                      <a:pt x="408" y="260"/>
                    </a:lnTo>
                    <a:lnTo>
                      <a:pt x="404" y="256"/>
                    </a:lnTo>
                    <a:lnTo>
                      <a:pt x="400" y="236"/>
                    </a:lnTo>
                    <a:lnTo>
                      <a:pt x="390" y="222"/>
                    </a:lnTo>
                    <a:lnTo>
                      <a:pt x="378" y="216"/>
                    </a:lnTo>
                    <a:lnTo>
                      <a:pt x="372" y="196"/>
                    </a:lnTo>
                    <a:lnTo>
                      <a:pt x="362" y="188"/>
                    </a:lnTo>
                    <a:lnTo>
                      <a:pt x="360" y="176"/>
                    </a:lnTo>
                    <a:lnTo>
                      <a:pt x="352" y="174"/>
                    </a:lnTo>
                    <a:lnTo>
                      <a:pt x="338" y="168"/>
                    </a:lnTo>
                    <a:lnTo>
                      <a:pt x="330" y="156"/>
                    </a:lnTo>
                    <a:lnTo>
                      <a:pt x="320" y="150"/>
                    </a:lnTo>
                    <a:lnTo>
                      <a:pt x="320" y="144"/>
                    </a:lnTo>
                    <a:lnTo>
                      <a:pt x="316" y="134"/>
                    </a:lnTo>
                    <a:lnTo>
                      <a:pt x="312" y="132"/>
                    </a:lnTo>
                    <a:lnTo>
                      <a:pt x="298" y="126"/>
                    </a:lnTo>
                    <a:lnTo>
                      <a:pt x="272" y="104"/>
                    </a:lnTo>
                    <a:lnTo>
                      <a:pt x="260" y="100"/>
                    </a:lnTo>
                    <a:lnTo>
                      <a:pt x="258" y="92"/>
                    </a:lnTo>
                    <a:lnTo>
                      <a:pt x="246" y="82"/>
                    </a:lnTo>
                    <a:lnTo>
                      <a:pt x="240" y="66"/>
                    </a:lnTo>
                    <a:lnTo>
                      <a:pt x="232" y="58"/>
                    </a:lnTo>
                    <a:lnTo>
                      <a:pt x="228" y="52"/>
                    </a:lnTo>
                    <a:lnTo>
                      <a:pt x="212" y="50"/>
                    </a:lnTo>
                    <a:lnTo>
                      <a:pt x="190" y="38"/>
                    </a:lnTo>
                    <a:lnTo>
                      <a:pt x="184" y="32"/>
                    </a:lnTo>
                    <a:lnTo>
                      <a:pt x="192" y="16"/>
                    </a:lnTo>
                    <a:lnTo>
                      <a:pt x="196" y="12"/>
                    </a:lnTo>
                    <a:lnTo>
                      <a:pt x="200" y="6"/>
                    </a:lnTo>
                    <a:lnTo>
                      <a:pt x="202" y="2"/>
                    </a:lnTo>
                    <a:lnTo>
                      <a:pt x="200" y="0"/>
                    </a:lnTo>
                    <a:lnTo>
                      <a:pt x="80" y="18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1" name="Freeform 27">
                <a:extLst>
                  <a:ext uri="{FF2B5EF4-FFF2-40B4-BE49-F238E27FC236}">
                    <a16:creationId xmlns:a16="http://schemas.microsoft.com/office/drawing/2014/main" id="{4B65CFA4-FC0B-4377-A5AB-F358E4DF99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17" y="2605"/>
                <a:ext cx="724" cy="546"/>
              </a:xfrm>
              <a:custGeom>
                <a:avLst/>
                <a:gdLst>
                  <a:gd name="T0" fmla="*/ 2 w 720"/>
                  <a:gd name="T1" fmla="*/ 46 h 544"/>
                  <a:gd name="T2" fmla="*/ 2 w 720"/>
                  <a:gd name="T3" fmla="*/ 58 h 544"/>
                  <a:gd name="T4" fmla="*/ 14 w 720"/>
                  <a:gd name="T5" fmla="*/ 72 h 544"/>
                  <a:gd name="T6" fmla="*/ 18 w 720"/>
                  <a:gd name="T7" fmla="*/ 88 h 544"/>
                  <a:gd name="T8" fmla="*/ 24 w 720"/>
                  <a:gd name="T9" fmla="*/ 96 h 544"/>
                  <a:gd name="T10" fmla="*/ 20 w 720"/>
                  <a:gd name="T11" fmla="*/ 108 h 544"/>
                  <a:gd name="T12" fmla="*/ 40 w 720"/>
                  <a:gd name="T13" fmla="*/ 102 h 544"/>
                  <a:gd name="T14" fmla="*/ 50 w 720"/>
                  <a:gd name="T15" fmla="*/ 88 h 544"/>
                  <a:gd name="T16" fmla="*/ 62 w 720"/>
                  <a:gd name="T17" fmla="*/ 88 h 544"/>
                  <a:gd name="T18" fmla="*/ 54 w 720"/>
                  <a:gd name="T19" fmla="*/ 100 h 544"/>
                  <a:gd name="T20" fmla="*/ 111 w 720"/>
                  <a:gd name="T21" fmla="*/ 82 h 544"/>
                  <a:gd name="T22" fmla="*/ 109 w 720"/>
                  <a:gd name="T23" fmla="*/ 92 h 544"/>
                  <a:gd name="T24" fmla="*/ 147 w 720"/>
                  <a:gd name="T25" fmla="*/ 100 h 544"/>
                  <a:gd name="T26" fmla="*/ 169 w 720"/>
                  <a:gd name="T27" fmla="*/ 106 h 544"/>
                  <a:gd name="T28" fmla="*/ 185 w 720"/>
                  <a:gd name="T29" fmla="*/ 110 h 544"/>
                  <a:gd name="T30" fmla="*/ 185 w 720"/>
                  <a:gd name="T31" fmla="*/ 116 h 544"/>
                  <a:gd name="T32" fmla="*/ 211 w 720"/>
                  <a:gd name="T33" fmla="*/ 143 h 544"/>
                  <a:gd name="T34" fmla="*/ 205 w 720"/>
                  <a:gd name="T35" fmla="*/ 149 h 544"/>
                  <a:gd name="T36" fmla="*/ 203 w 720"/>
                  <a:gd name="T37" fmla="*/ 153 h 544"/>
                  <a:gd name="T38" fmla="*/ 239 w 720"/>
                  <a:gd name="T39" fmla="*/ 143 h 544"/>
                  <a:gd name="T40" fmla="*/ 292 w 720"/>
                  <a:gd name="T41" fmla="*/ 120 h 544"/>
                  <a:gd name="T42" fmla="*/ 294 w 720"/>
                  <a:gd name="T43" fmla="*/ 102 h 544"/>
                  <a:gd name="T44" fmla="*/ 362 w 720"/>
                  <a:gd name="T45" fmla="*/ 124 h 544"/>
                  <a:gd name="T46" fmla="*/ 404 w 720"/>
                  <a:gd name="T47" fmla="*/ 163 h 544"/>
                  <a:gd name="T48" fmla="*/ 434 w 720"/>
                  <a:gd name="T49" fmla="*/ 177 h 544"/>
                  <a:gd name="T50" fmla="*/ 450 w 720"/>
                  <a:gd name="T51" fmla="*/ 207 h 544"/>
                  <a:gd name="T52" fmla="*/ 448 w 720"/>
                  <a:gd name="T53" fmla="*/ 279 h 544"/>
                  <a:gd name="T54" fmla="*/ 469 w 720"/>
                  <a:gd name="T55" fmla="*/ 317 h 544"/>
                  <a:gd name="T56" fmla="*/ 463 w 720"/>
                  <a:gd name="T57" fmla="*/ 291 h 544"/>
                  <a:gd name="T58" fmla="*/ 479 w 720"/>
                  <a:gd name="T59" fmla="*/ 301 h 544"/>
                  <a:gd name="T60" fmla="*/ 487 w 720"/>
                  <a:gd name="T61" fmla="*/ 293 h 544"/>
                  <a:gd name="T62" fmla="*/ 487 w 720"/>
                  <a:gd name="T63" fmla="*/ 309 h 544"/>
                  <a:gd name="T64" fmla="*/ 473 w 720"/>
                  <a:gd name="T65" fmla="*/ 333 h 544"/>
                  <a:gd name="T66" fmla="*/ 487 w 720"/>
                  <a:gd name="T67" fmla="*/ 355 h 544"/>
                  <a:gd name="T68" fmla="*/ 523 w 720"/>
                  <a:gd name="T69" fmla="*/ 397 h 544"/>
                  <a:gd name="T70" fmla="*/ 535 w 720"/>
                  <a:gd name="T71" fmla="*/ 403 h 544"/>
                  <a:gd name="T72" fmla="*/ 551 w 720"/>
                  <a:gd name="T73" fmla="*/ 432 h 544"/>
                  <a:gd name="T74" fmla="*/ 581 w 720"/>
                  <a:gd name="T75" fmla="*/ 478 h 544"/>
                  <a:gd name="T76" fmla="*/ 634 w 720"/>
                  <a:gd name="T77" fmla="*/ 516 h 544"/>
                  <a:gd name="T78" fmla="*/ 654 w 720"/>
                  <a:gd name="T79" fmla="*/ 528 h 544"/>
                  <a:gd name="T80" fmla="*/ 646 w 720"/>
                  <a:gd name="T81" fmla="*/ 534 h 544"/>
                  <a:gd name="T82" fmla="*/ 640 w 720"/>
                  <a:gd name="T83" fmla="*/ 538 h 544"/>
                  <a:gd name="T84" fmla="*/ 662 w 720"/>
                  <a:gd name="T85" fmla="*/ 542 h 544"/>
                  <a:gd name="T86" fmla="*/ 712 w 720"/>
                  <a:gd name="T87" fmla="*/ 514 h 544"/>
                  <a:gd name="T88" fmla="*/ 710 w 720"/>
                  <a:gd name="T89" fmla="*/ 482 h 544"/>
                  <a:gd name="T90" fmla="*/ 716 w 720"/>
                  <a:gd name="T91" fmla="*/ 434 h 544"/>
                  <a:gd name="T92" fmla="*/ 708 w 720"/>
                  <a:gd name="T93" fmla="*/ 357 h 544"/>
                  <a:gd name="T94" fmla="*/ 666 w 720"/>
                  <a:gd name="T95" fmla="*/ 281 h 544"/>
                  <a:gd name="T96" fmla="*/ 646 w 720"/>
                  <a:gd name="T97" fmla="*/ 249 h 544"/>
                  <a:gd name="T98" fmla="*/ 646 w 720"/>
                  <a:gd name="T99" fmla="*/ 219 h 544"/>
                  <a:gd name="T100" fmla="*/ 607 w 720"/>
                  <a:gd name="T101" fmla="*/ 169 h 544"/>
                  <a:gd name="T102" fmla="*/ 579 w 720"/>
                  <a:gd name="T103" fmla="*/ 139 h 544"/>
                  <a:gd name="T104" fmla="*/ 541 w 720"/>
                  <a:gd name="T105" fmla="*/ 48 h 544"/>
                  <a:gd name="T106" fmla="*/ 531 w 720"/>
                  <a:gd name="T107" fmla="*/ 36 h 544"/>
                  <a:gd name="T108" fmla="*/ 519 w 720"/>
                  <a:gd name="T109" fmla="*/ 8 h 544"/>
                  <a:gd name="T110" fmla="*/ 481 w 720"/>
                  <a:gd name="T111" fmla="*/ 4 h 544"/>
                  <a:gd name="T112" fmla="*/ 485 w 720"/>
                  <a:gd name="T113" fmla="*/ 38 h 544"/>
                  <a:gd name="T114" fmla="*/ 469 w 720"/>
                  <a:gd name="T115" fmla="*/ 44 h 544"/>
                  <a:gd name="T116" fmla="*/ 231 w 720"/>
                  <a:gd name="T117" fmla="*/ 38 h 544"/>
                  <a:gd name="T118" fmla="*/ 223 w 720"/>
                  <a:gd name="T119" fmla="*/ 20 h 54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20" h="544">
                    <a:moveTo>
                      <a:pt x="222" y="20"/>
                    </a:moveTo>
                    <a:lnTo>
                      <a:pt x="2" y="40"/>
                    </a:lnTo>
                    <a:lnTo>
                      <a:pt x="2" y="46"/>
                    </a:lnTo>
                    <a:lnTo>
                      <a:pt x="4" y="48"/>
                    </a:lnTo>
                    <a:lnTo>
                      <a:pt x="0" y="50"/>
                    </a:lnTo>
                    <a:lnTo>
                      <a:pt x="2" y="58"/>
                    </a:lnTo>
                    <a:lnTo>
                      <a:pt x="8" y="66"/>
                    </a:lnTo>
                    <a:lnTo>
                      <a:pt x="12" y="70"/>
                    </a:lnTo>
                    <a:lnTo>
                      <a:pt x="14" y="72"/>
                    </a:lnTo>
                    <a:lnTo>
                      <a:pt x="22" y="76"/>
                    </a:lnTo>
                    <a:lnTo>
                      <a:pt x="22" y="80"/>
                    </a:lnTo>
                    <a:lnTo>
                      <a:pt x="18" y="88"/>
                    </a:lnTo>
                    <a:lnTo>
                      <a:pt x="18" y="90"/>
                    </a:lnTo>
                    <a:lnTo>
                      <a:pt x="24" y="94"/>
                    </a:lnTo>
                    <a:lnTo>
                      <a:pt x="24" y="96"/>
                    </a:lnTo>
                    <a:lnTo>
                      <a:pt x="24" y="98"/>
                    </a:lnTo>
                    <a:lnTo>
                      <a:pt x="20" y="102"/>
                    </a:lnTo>
                    <a:lnTo>
                      <a:pt x="20" y="108"/>
                    </a:lnTo>
                    <a:lnTo>
                      <a:pt x="22" y="110"/>
                    </a:lnTo>
                    <a:lnTo>
                      <a:pt x="36" y="106"/>
                    </a:lnTo>
                    <a:lnTo>
                      <a:pt x="40" y="102"/>
                    </a:lnTo>
                    <a:lnTo>
                      <a:pt x="44" y="90"/>
                    </a:lnTo>
                    <a:lnTo>
                      <a:pt x="46" y="86"/>
                    </a:lnTo>
                    <a:lnTo>
                      <a:pt x="50" y="88"/>
                    </a:lnTo>
                    <a:lnTo>
                      <a:pt x="56" y="88"/>
                    </a:lnTo>
                    <a:lnTo>
                      <a:pt x="58" y="86"/>
                    </a:lnTo>
                    <a:lnTo>
                      <a:pt x="62" y="88"/>
                    </a:lnTo>
                    <a:lnTo>
                      <a:pt x="60" y="90"/>
                    </a:lnTo>
                    <a:lnTo>
                      <a:pt x="52" y="98"/>
                    </a:lnTo>
                    <a:lnTo>
                      <a:pt x="54" y="100"/>
                    </a:lnTo>
                    <a:lnTo>
                      <a:pt x="60" y="96"/>
                    </a:lnTo>
                    <a:lnTo>
                      <a:pt x="72" y="96"/>
                    </a:lnTo>
                    <a:lnTo>
                      <a:pt x="11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08" y="92"/>
                    </a:lnTo>
                    <a:lnTo>
                      <a:pt x="112" y="94"/>
                    </a:lnTo>
                    <a:lnTo>
                      <a:pt x="130" y="94"/>
                    </a:lnTo>
                    <a:lnTo>
                      <a:pt x="146" y="100"/>
                    </a:lnTo>
                    <a:lnTo>
                      <a:pt x="164" y="110"/>
                    </a:lnTo>
                    <a:lnTo>
                      <a:pt x="168" y="112"/>
                    </a:lnTo>
                    <a:lnTo>
                      <a:pt x="168" y="106"/>
                    </a:lnTo>
                    <a:lnTo>
                      <a:pt x="172" y="102"/>
                    </a:lnTo>
                    <a:lnTo>
                      <a:pt x="174" y="108"/>
                    </a:lnTo>
                    <a:lnTo>
                      <a:pt x="184" y="110"/>
                    </a:lnTo>
                    <a:lnTo>
                      <a:pt x="188" y="112"/>
                    </a:lnTo>
                    <a:lnTo>
                      <a:pt x="188" y="114"/>
                    </a:lnTo>
                    <a:lnTo>
                      <a:pt x="184" y="116"/>
                    </a:lnTo>
                    <a:lnTo>
                      <a:pt x="186" y="118"/>
                    </a:lnTo>
                    <a:lnTo>
                      <a:pt x="208" y="136"/>
                    </a:lnTo>
                    <a:lnTo>
                      <a:pt x="210" y="142"/>
                    </a:lnTo>
                    <a:lnTo>
                      <a:pt x="208" y="146"/>
                    </a:lnTo>
                    <a:lnTo>
                      <a:pt x="206" y="150"/>
                    </a:lnTo>
                    <a:lnTo>
                      <a:pt x="204" y="148"/>
                    </a:lnTo>
                    <a:lnTo>
                      <a:pt x="202" y="142"/>
                    </a:lnTo>
                    <a:lnTo>
                      <a:pt x="200" y="148"/>
                    </a:lnTo>
                    <a:lnTo>
                      <a:pt x="202" y="152"/>
                    </a:lnTo>
                    <a:lnTo>
                      <a:pt x="206" y="154"/>
                    </a:lnTo>
                    <a:lnTo>
                      <a:pt x="236" y="146"/>
                    </a:lnTo>
                    <a:lnTo>
                      <a:pt x="238" y="142"/>
                    </a:lnTo>
                    <a:lnTo>
                      <a:pt x="250" y="140"/>
                    </a:lnTo>
                    <a:lnTo>
                      <a:pt x="274" y="120"/>
                    </a:lnTo>
                    <a:lnTo>
                      <a:pt x="290" y="120"/>
                    </a:lnTo>
                    <a:lnTo>
                      <a:pt x="290" y="116"/>
                    </a:lnTo>
                    <a:lnTo>
                      <a:pt x="288" y="112"/>
                    </a:lnTo>
                    <a:lnTo>
                      <a:pt x="292" y="102"/>
                    </a:lnTo>
                    <a:lnTo>
                      <a:pt x="320" y="98"/>
                    </a:lnTo>
                    <a:lnTo>
                      <a:pt x="358" y="118"/>
                    </a:lnTo>
                    <a:lnTo>
                      <a:pt x="360" y="124"/>
                    </a:lnTo>
                    <a:lnTo>
                      <a:pt x="370" y="132"/>
                    </a:lnTo>
                    <a:lnTo>
                      <a:pt x="378" y="146"/>
                    </a:lnTo>
                    <a:lnTo>
                      <a:pt x="402" y="162"/>
                    </a:lnTo>
                    <a:lnTo>
                      <a:pt x="406" y="170"/>
                    </a:lnTo>
                    <a:lnTo>
                      <a:pt x="412" y="176"/>
                    </a:lnTo>
                    <a:lnTo>
                      <a:pt x="432" y="176"/>
                    </a:lnTo>
                    <a:lnTo>
                      <a:pt x="446" y="196"/>
                    </a:lnTo>
                    <a:lnTo>
                      <a:pt x="450" y="200"/>
                    </a:lnTo>
                    <a:lnTo>
                      <a:pt x="448" y="206"/>
                    </a:lnTo>
                    <a:lnTo>
                      <a:pt x="454" y="228"/>
                    </a:lnTo>
                    <a:lnTo>
                      <a:pt x="452" y="252"/>
                    </a:lnTo>
                    <a:lnTo>
                      <a:pt x="446" y="278"/>
                    </a:lnTo>
                    <a:lnTo>
                      <a:pt x="446" y="300"/>
                    </a:lnTo>
                    <a:lnTo>
                      <a:pt x="450" y="306"/>
                    </a:lnTo>
                    <a:lnTo>
                      <a:pt x="466" y="316"/>
                    </a:lnTo>
                    <a:lnTo>
                      <a:pt x="470" y="308"/>
                    </a:lnTo>
                    <a:lnTo>
                      <a:pt x="466" y="304"/>
                    </a:lnTo>
                    <a:lnTo>
                      <a:pt x="460" y="290"/>
                    </a:lnTo>
                    <a:lnTo>
                      <a:pt x="462" y="288"/>
                    </a:lnTo>
                    <a:lnTo>
                      <a:pt x="470" y="286"/>
                    </a:lnTo>
                    <a:lnTo>
                      <a:pt x="476" y="300"/>
                    </a:lnTo>
                    <a:lnTo>
                      <a:pt x="480" y="300"/>
                    </a:lnTo>
                    <a:lnTo>
                      <a:pt x="482" y="292"/>
                    </a:lnTo>
                    <a:lnTo>
                      <a:pt x="484" y="292"/>
                    </a:lnTo>
                    <a:lnTo>
                      <a:pt x="488" y="294"/>
                    </a:lnTo>
                    <a:lnTo>
                      <a:pt x="488" y="300"/>
                    </a:lnTo>
                    <a:lnTo>
                      <a:pt x="484" y="308"/>
                    </a:lnTo>
                    <a:lnTo>
                      <a:pt x="480" y="314"/>
                    </a:lnTo>
                    <a:lnTo>
                      <a:pt x="474" y="330"/>
                    </a:lnTo>
                    <a:lnTo>
                      <a:pt x="470" y="332"/>
                    </a:lnTo>
                    <a:lnTo>
                      <a:pt x="470" y="340"/>
                    </a:lnTo>
                    <a:lnTo>
                      <a:pt x="476" y="346"/>
                    </a:lnTo>
                    <a:lnTo>
                      <a:pt x="484" y="354"/>
                    </a:lnTo>
                    <a:lnTo>
                      <a:pt x="498" y="384"/>
                    </a:lnTo>
                    <a:lnTo>
                      <a:pt x="518" y="396"/>
                    </a:lnTo>
                    <a:lnTo>
                      <a:pt x="520" y="396"/>
                    </a:lnTo>
                    <a:lnTo>
                      <a:pt x="520" y="390"/>
                    </a:lnTo>
                    <a:lnTo>
                      <a:pt x="528" y="390"/>
                    </a:lnTo>
                    <a:lnTo>
                      <a:pt x="532" y="402"/>
                    </a:lnTo>
                    <a:lnTo>
                      <a:pt x="532" y="408"/>
                    </a:lnTo>
                    <a:lnTo>
                      <a:pt x="540" y="424"/>
                    </a:lnTo>
                    <a:lnTo>
                      <a:pt x="548" y="430"/>
                    </a:lnTo>
                    <a:lnTo>
                      <a:pt x="558" y="432"/>
                    </a:lnTo>
                    <a:lnTo>
                      <a:pt x="572" y="474"/>
                    </a:lnTo>
                    <a:lnTo>
                      <a:pt x="578" y="476"/>
                    </a:lnTo>
                    <a:lnTo>
                      <a:pt x="598" y="482"/>
                    </a:lnTo>
                    <a:lnTo>
                      <a:pt x="606" y="486"/>
                    </a:lnTo>
                    <a:lnTo>
                      <a:pt x="630" y="514"/>
                    </a:lnTo>
                    <a:lnTo>
                      <a:pt x="640" y="522"/>
                    </a:lnTo>
                    <a:lnTo>
                      <a:pt x="644" y="522"/>
                    </a:lnTo>
                    <a:lnTo>
                      <a:pt x="650" y="526"/>
                    </a:lnTo>
                    <a:lnTo>
                      <a:pt x="652" y="532"/>
                    </a:lnTo>
                    <a:lnTo>
                      <a:pt x="646" y="532"/>
                    </a:lnTo>
                    <a:lnTo>
                      <a:pt x="642" y="532"/>
                    </a:lnTo>
                    <a:lnTo>
                      <a:pt x="640" y="532"/>
                    </a:lnTo>
                    <a:lnTo>
                      <a:pt x="638" y="532"/>
                    </a:lnTo>
                    <a:lnTo>
                      <a:pt x="636" y="536"/>
                    </a:lnTo>
                    <a:lnTo>
                      <a:pt x="640" y="540"/>
                    </a:lnTo>
                    <a:lnTo>
                      <a:pt x="652" y="544"/>
                    </a:lnTo>
                    <a:lnTo>
                      <a:pt x="658" y="540"/>
                    </a:lnTo>
                    <a:lnTo>
                      <a:pt x="666" y="538"/>
                    </a:lnTo>
                    <a:lnTo>
                      <a:pt x="702" y="524"/>
                    </a:lnTo>
                    <a:lnTo>
                      <a:pt x="708" y="512"/>
                    </a:lnTo>
                    <a:lnTo>
                      <a:pt x="710" y="508"/>
                    </a:lnTo>
                    <a:lnTo>
                      <a:pt x="704" y="490"/>
                    </a:lnTo>
                    <a:lnTo>
                      <a:pt x="706" y="480"/>
                    </a:lnTo>
                    <a:lnTo>
                      <a:pt x="712" y="464"/>
                    </a:lnTo>
                    <a:lnTo>
                      <a:pt x="720" y="466"/>
                    </a:lnTo>
                    <a:lnTo>
                      <a:pt x="712" y="432"/>
                    </a:lnTo>
                    <a:lnTo>
                      <a:pt x="714" y="414"/>
                    </a:lnTo>
                    <a:lnTo>
                      <a:pt x="712" y="382"/>
                    </a:lnTo>
                    <a:lnTo>
                      <a:pt x="704" y="356"/>
                    </a:lnTo>
                    <a:lnTo>
                      <a:pt x="700" y="348"/>
                    </a:lnTo>
                    <a:lnTo>
                      <a:pt x="676" y="316"/>
                    </a:lnTo>
                    <a:lnTo>
                      <a:pt x="662" y="280"/>
                    </a:lnTo>
                    <a:lnTo>
                      <a:pt x="642" y="256"/>
                    </a:lnTo>
                    <a:lnTo>
                      <a:pt x="644" y="252"/>
                    </a:lnTo>
                    <a:lnTo>
                      <a:pt x="642" y="248"/>
                    </a:lnTo>
                    <a:lnTo>
                      <a:pt x="636" y="234"/>
                    </a:lnTo>
                    <a:lnTo>
                      <a:pt x="636" y="228"/>
                    </a:lnTo>
                    <a:lnTo>
                      <a:pt x="642" y="218"/>
                    </a:lnTo>
                    <a:lnTo>
                      <a:pt x="642" y="216"/>
                    </a:lnTo>
                    <a:lnTo>
                      <a:pt x="618" y="182"/>
                    </a:lnTo>
                    <a:lnTo>
                      <a:pt x="604" y="168"/>
                    </a:lnTo>
                    <a:lnTo>
                      <a:pt x="594" y="162"/>
                    </a:lnTo>
                    <a:lnTo>
                      <a:pt x="592" y="158"/>
                    </a:lnTo>
                    <a:lnTo>
                      <a:pt x="576" y="138"/>
                    </a:lnTo>
                    <a:lnTo>
                      <a:pt x="556" y="100"/>
                    </a:lnTo>
                    <a:lnTo>
                      <a:pt x="550" y="78"/>
                    </a:lnTo>
                    <a:lnTo>
                      <a:pt x="538" y="48"/>
                    </a:lnTo>
                    <a:lnTo>
                      <a:pt x="538" y="42"/>
                    </a:lnTo>
                    <a:lnTo>
                      <a:pt x="532" y="38"/>
                    </a:lnTo>
                    <a:lnTo>
                      <a:pt x="528" y="36"/>
                    </a:lnTo>
                    <a:lnTo>
                      <a:pt x="526" y="14"/>
                    </a:lnTo>
                    <a:lnTo>
                      <a:pt x="522" y="6"/>
                    </a:lnTo>
                    <a:lnTo>
                      <a:pt x="516" y="8"/>
                    </a:lnTo>
                    <a:lnTo>
                      <a:pt x="502" y="6"/>
                    </a:lnTo>
                    <a:lnTo>
                      <a:pt x="486" y="0"/>
                    </a:lnTo>
                    <a:lnTo>
                      <a:pt x="478" y="4"/>
                    </a:lnTo>
                    <a:lnTo>
                      <a:pt x="476" y="8"/>
                    </a:lnTo>
                    <a:lnTo>
                      <a:pt x="476" y="16"/>
                    </a:lnTo>
                    <a:lnTo>
                      <a:pt x="482" y="38"/>
                    </a:lnTo>
                    <a:lnTo>
                      <a:pt x="480" y="50"/>
                    </a:lnTo>
                    <a:lnTo>
                      <a:pt x="468" y="48"/>
                    </a:lnTo>
                    <a:lnTo>
                      <a:pt x="466" y="44"/>
                    </a:lnTo>
                    <a:lnTo>
                      <a:pt x="462" y="32"/>
                    </a:lnTo>
                    <a:lnTo>
                      <a:pt x="236" y="46"/>
                    </a:lnTo>
                    <a:lnTo>
                      <a:pt x="230" y="38"/>
                    </a:lnTo>
                    <a:lnTo>
                      <a:pt x="230" y="32"/>
                    </a:lnTo>
                    <a:lnTo>
                      <a:pt x="222" y="24"/>
                    </a:lnTo>
                    <a:lnTo>
                      <a:pt x="222" y="2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2" name="Freeform 28">
                <a:extLst>
                  <a:ext uri="{FF2B5EF4-FFF2-40B4-BE49-F238E27FC236}">
                    <a16:creationId xmlns:a16="http://schemas.microsoft.com/office/drawing/2014/main" id="{B10E61CD-8398-4622-B3EB-0077BBE20F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27" y="1626"/>
                <a:ext cx="87" cy="138"/>
              </a:xfrm>
              <a:custGeom>
                <a:avLst/>
                <a:gdLst>
                  <a:gd name="T0" fmla="*/ 87 w 86"/>
                  <a:gd name="T1" fmla="*/ 128 h 138"/>
                  <a:gd name="T2" fmla="*/ 87 w 86"/>
                  <a:gd name="T3" fmla="*/ 118 h 138"/>
                  <a:gd name="T4" fmla="*/ 81 w 86"/>
                  <a:gd name="T5" fmla="*/ 104 h 138"/>
                  <a:gd name="T6" fmla="*/ 71 w 86"/>
                  <a:gd name="T7" fmla="*/ 94 h 138"/>
                  <a:gd name="T8" fmla="*/ 57 w 86"/>
                  <a:gd name="T9" fmla="*/ 86 h 138"/>
                  <a:gd name="T10" fmla="*/ 53 w 86"/>
                  <a:gd name="T11" fmla="*/ 80 h 138"/>
                  <a:gd name="T12" fmla="*/ 49 w 86"/>
                  <a:gd name="T13" fmla="*/ 72 h 138"/>
                  <a:gd name="T14" fmla="*/ 38 w 86"/>
                  <a:gd name="T15" fmla="*/ 54 h 138"/>
                  <a:gd name="T16" fmla="*/ 34 w 86"/>
                  <a:gd name="T17" fmla="*/ 46 h 138"/>
                  <a:gd name="T18" fmla="*/ 24 w 86"/>
                  <a:gd name="T19" fmla="*/ 36 h 138"/>
                  <a:gd name="T20" fmla="*/ 22 w 86"/>
                  <a:gd name="T21" fmla="*/ 30 h 138"/>
                  <a:gd name="T22" fmla="*/ 20 w 86"/>
                  <a:gd name="T23" fmla="*/ 24 h 138"/>
                  <a:gd name="T24" fmla="*/ 20 w 86"/>
                  <a:gd name="T25" fmla="*/ 22 h 138"/>
                  <a:gd name="T26" fmla="*/ 20 w 86"/>
                  <a:gd name="T27" fmla="*/ 20 h 138"/>
                  <a:gd name="T28" fmla="*/ 26 w 86"/>
                  <a:gd name="T29" fmla="*/ 2 h 138"/>
                  <a:gd name="T30" fmla="*/ 20 w 86"/>
                  <a:gd name="T31" fmla="*/ 0 h 138"/>
                  <a:gd name="T32" fmla="*/ 12 w 86"/>
                  <a:gd name="T33" fmla="*/ 0 h 138"/>
                  <a:gd name="T34" fmla="*/ 4 w 86"/>
                  <a:gd name="T35" fmla="*/ 8 h 138"/>
                  <a:gd name="T36" fmla="*/ 4 w 86"/>
                  <a:gd name="T37" fmla="*/ 14 h 138"/>
                  <a:gd name="T38" fmla="*/ 2 w 86"/>
                  <a:gd name="T39" fmla="*/ 14 h 138"/>
                  <a:gd name="T40" fmla="*/ 0 w 86"/>
                  <a:gd name="T41" fmla="*/ 16 h 138"/>
                  <a:gd name="T42" fmla="*/ 36 w 86"/>
                  <a:gd name="T43" fmla="*/ 138 h 138"/>
                  <a:gd name="T44" fmla="*/ 87 w 86"/>
                  <a:gd name="T45" fmla="*/ 128 h 13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138">
                    <a:moveTo>
                      <a:pt x="86" y="128"/>
                    </a:moveTo>
                    <a:lnTo>
                      <a:pt x="86" y="118"/>
                    </a:lnTo>
                    <a:lnTo>
                      <a:pt x="80" y="104"/>
                    </a:lnTo>
                    <a:lnTo>
                      <a:pt x="70" y="94"/>
                    </a:lnTo>
                    <a:lnTo>
                      <a:pt x="56" y="86"/>
                    </a:lnTo>
                    <a:lnTo>
                      <a:pt x="52" y="80"/>
                    </a:lnTo>
                    <a:lnTo>
                      <a:pt x="48" y="72"/>
                    </a:lnTo>
                    <a:lnTo>
                      <a:pt x="38" y="54"/>
                    </a:lnTo>
                    <a:lnTo>
                      <a:pt x="34" y="46"/>
                    </a:lnTo>
                    <a:lnTo>
                      <a:pt x="24" y="36"/>
                    </a:lnTo>
                    <a:lnTo>
                      <a:pt x="22" y="30"/>
                    </a:lnTo>
                    <a:lnTo>
                      <a:pt x="20" y="24"/>
                    </a:lnTo>
                    <a:lnTo>
                      <a:pt x="20" y="22"/>
                    </a:lnTo>
                    <a:lnTo>
                      <a:pt x="20" y="20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4" y="8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36" y="138"/>
                    </a:lnTo>
                    <a:lnTo>
                      <a:pt x="86" y="12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" name="Freeform 29">
                <a:extLst>
                  <a:ext uri="{FF2B5EF4-FFF2-40B4-BE49-F238E27FC236}">
                    <a16:creationId xmlns:a16="http://schemas.microsoft.com/office/drawing/2014/main" id="{3CA20796-B3B6-4CAC-B92C-58B857EEBC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48" y="1249"/>
                <a:ext cx="260" cy="134"/>
              </a:xfrm>
              <a:custGeom>
                <a:avLst/>
                <a:gdLst>
                  <a:gd name="T0" fmla="*/ 52 w 260"/>
                  <a:gd name="T1" fmla="*/ 44 h 134"/>
                  <a:gd name="T2" fmla="*/ 138 w 260"/>
                  <a:gd name="T3" fmla="*/ 22 h 134"/>
                  <a:gd name="T4" fmla="*/ 144 w 260"/>
                  <a:gd name="T5" fmla="*/ 22 h 134"/>
                  <a:gd name="T6" fmla="*/ 144 w 260"/>
                  <a:gd name="T7" fmla="*/ 14 h 134"/>
                  <a:gd name="T8" fmla="*/ 156 w 260"/>
                  <a:gd name="T9" fmla="*/ 0 h 134"/>
                  <a:gd name="T10" fmla="*/ 166 w 260"/>
                  <a:gd name="T11" fmla="*/ 2 h 134"/>
                  <a:gd name="T12" fmla="*/ 180 w 260"/>
                  <a:gd name="T13" fmla="*/ 22 h 134"/>
                  <a:gd name="T14" fmla="*/ 182 w 260"/>
                  <a:gd name="T15" fmla="*/ 30 h 134"/>
                  <a:gd name="T16" fmla="*/ 172 w 260"/>
                  <a:gd name="T17" fmla="*/ 42 h 134"/>
                  <a:gd name="T18" fmla="*/ 168 w 260"/>
                  <a:gd name="T19" fmla="*/ 58 h 134"/>
                  <a:gd name="T20" fmla="*/ 190 w 260"/>
                  <a:gd name="T21" fmla="*/ 64 h 134"/>
                  <a:gd name="T22" fmla="*/ 210 w 260"/>
                  <a:gd name="T23" fmla="*/ 88 h 134"/>
                  <a:gd name="T24" fmla="*/ 234 w 260"/>
                  <a:gd name="T25" fmla="*/ 98 h 134"/>
                  <a:gd name="T26" fmla="*/ 250 w 260"/>
                  <a:gd name="T27" fmla="*/ 82 h 134"/>
                  <a:gd name="T28" fmla="*/ 240 w 260"/>
                  <a:gd name="T29" fmla="*/ 72 h 134"/>
                  <a:gd name="T30" fmla="*/ 232 w 260"/>
                  <a:gd name="T31" fmla="*/ 64 h 134"/>
                  <a:gd name="T32" fmla="*/ 242 w 260"/>
                  <a:gd name="T33" fmla="*/ 64 h 134"/>
                  <a:gd name="T34" fmla="*/ 260 w 260"/>
                  <a:gd name="T35" fmla="*/ 98 h 134"/>
                  <a:gd name="T36" fmla="*/ 252 w 260"/>
                  <a:gd name="T37" fmla="*/ 100 h 134"/>
                  <a:gd name="T38" fmla="*/ 232 w 260"/>
                  <a:gd name="T39" fmla="*/ 112 h 134"/>
                  <a:gd name="T40" fmla="*/ 214 w 260"/>
                  <a:gd name="T41" fmla="*/ 124 h 134"/>
                  <a:gd name="T42" fmla="*/ 214 w 260"/>
                  <a:gd name="T43" fmla="*/ 116 h 134"/>
                  <a:gd name="T44" fmla="*/ 208 w 260"/>
                  <a:gd name="T45" fmla="*/ 108 h 134"/>
                  <a:gd name="T46" fmla="*/ 192 w 260"/>
                  <a:gd name="T47" fmla="*/ 132 h 134"/>
                  <a:gd name="T48" fmla="*/ 184 w 260"/>
                  <a:gd name="T49" fmla="*/ 128 h 134"/>
                  <a:gd name="T50" fmla="*/ 180 w 260"/>
                  <a:gd name="T51" fmla="*/ 126 h 134"/>
                  <a:gd name="T52" fmla="*/ 174 w 260"/>
                  <a:gd name="T53" fmla="*/ 120 h 134"/>
                  <a:gd name="T54" fmla="*/ 160 w 260"/>
                  <a:gd name="T55" fmla="*/ 112 h 134"/>
                  <a:gd name="T56" fmla="*/ 152 w 260"/>
                  <a:gd name="T57" fmla="*/ 102 h 134"/>
                  <a:gd name="T58" fmla="*/ 122 w 260"/>
                  <a:gd name="T59" fmla="*/ 98 h 134"/>
                  <a:gd name="T60" fmla="*/ 52 w 260"/>
                  <a:gd name="T61" fmla="*/ 120 h 134"/>
                  <a:gd name="T62" fmla="*/ 48 w 260"/>
                  <a:gd name="T63" fmla="*/ 116 h 134"/>
                  <a:gd name="T64" fmla="*/ 0 w 260"/>
                  <a:gd name="T65" fmla="*/ 124 h 13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60" h="134">
                    <a:moveTo>
                      <a:pt x="0" y="56"/>
                    </a:moveTo>
                    <a:lnTo>
                      <a:pt x="52" y="44"/>
                    </a:lnTo>
                    <a:lnTo>
                      <a:pt x="138" y="26"/>
                    </a:lnTo>
                    <a:lnTo>
                      <a:pt x="138" y="22"/>
                    </a:lnTo>
                    <a:lnTo>
                      <a:pt x="142" y="20"/>
                    </a:lnTo>
                    <a:lnTo>
                      <a:pt x="144" y="22"/>
                    </a:lnTo>
                    <a:lnTo>
                      <a:pt x="144" y="20"/>
                    </a:lnTo>
                    <a:lnTo>
                      <a:pt x="144" y="14"/>
                    </a:lnTo>
                    <a:lnTo>
                      <a:pt x="150" y="12"/>
                    </a:lnTo>
                    <a:lnTo>
                      <a:pt x="156" y="0"/>
                    </a:lnTo>
                    <a:lnTo>
                      <a:pt x="162" y="0"/>
                    </a:lnTo>
                    <a:lnTo>
                      <a:pt x="166" y="2"/>
                    </a:lnTo>
                    <a:lnTo>
                      <a:pt x="170" y="14"/>
                    </a:lnTo>
                    <a:lnTo>
                      <a:pt x="180" y="22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76" y="32"/>
                    </a:lnTo>
                    <a:lnTo>
                      <a:pt x="172" y="42"/>
                    </a:lnTo>
                    <a:lnTo>
                      <a:pt x="168" y="52"/>
                    </a:lnTo>
                    <a:lnTo>
                      <a:pt x="168" y="58"/>
                    </a:lnTo>
                    <a:lnTo>
                      <a:pt x="180" y="58"/>
                    </a:lnTo>
                    <a:lnTo>
                      <a:pt x="190" y="64"/>
                    </a:lnTo>
                    <a:lnTo>
                      <a:pt x="204" y="78"/>
                    </a:lnTo>
                    <a:lnTo>
                      <a:pt x="210" y="88"/>
                    </a:lnTo>
                    <a:lnTo>
                      <a:pt x="216" y="96"/>
                    </a:lnTo>
                    <a:lnTo>
                      <a:pt x="234" y="98"/>
                    </a:lnTo>
                    <a:lnTo>
                      <a:pt x="244" y="94"/>
                    </a:lnTo>
                    <a:lnTo>
                      <a:pt x="250" y="82"/>
                    </a:lnTo>
                    <a:lnTo>
                      <a:pt x="246" y="78"/>
                    </a:lnTo>
                    <a:lnTo>
                      <a:pt x="240" y="72"/>
                    </a:lnTo>
                    <a:lnTo>
                      <a:pt x="232" y="68"/>
                    </a:lnTo>
                    <a:lnTo>
                      <a:pt x="232" y="64"/>
                    </a:lnTo>
                    <a:lnTo>
                      <a:pt x="238" y="64"/>
                    </a:lnTo>
                    <a:lnTo>
                      <a:pt x="242" y="64"/>
                    </a:lnTo>
                    <a:lnTo>
                      <a:pt x="254" y="82"/>
                    </a:lnTo>
                    <a:lnTo>
                      <a:pt x="260" y="98"/>
                    </a:lnTo>
                    <a:lnTo>
                      <a:pt x="260" y="106"/>
                    </a:lnTo>
                    <a:lnTo>
                      <a:pt x="252" y="100"/>
                    </a:lnTo>
                    <a:lnTo>
                      <a:pt x="244" y="106"/>
                    </a:lnTo>
                    <a:lnTo>
                      <a:pt x="232" y="112"/>
                    </a:lnTo>
                    <a:lnTo>
                      <a:pt x="220" y="124"/>
                    </a:lnTo>
                    <a:lnTo>
                      <a:pt x="214" y="124"/>
                    </a:lnTo>
                    <a:lnTo>
                      <a:pt x="214" y="122"/>
                    </a:lnTo>
                    <a:lnTo>
                      <a:pt x="214" y="116"/>
                    </a:lnTo>
                    <a:lnTo>
                      <a:pt x="212" y="108"/>
                    </a:lnTo>
                    <a:lnTo>
                      <a:pt x="208" y="108"/>
                    </a:lnTo>
                    <a:lnTo>
                      <a:pt x="202" y="120"/>
                    </a:lnTo>
                    <a:lnTo>
                      <a:pt x="192" y="132"/>
                    </a:lnTo>
                    <a:lnTo>
                      <a:pt x="190" y="134"/>
                    </a:lnTo>
                    <a:lnTo>
                      <a:pt x="184" y="128"/>
                    </a:lnTo>
                    <a:lnTo>
                      <a:pt x="184" y="126"/>
                    </a:lnTo>
                    <a:lnTo>
                      <a:pt x="180" y="126"/>
                    </a:lnTo>
                    <a:lnTo>
                      <a:pt x="178" y="124"/>
                    </a:lnTo>
                    <a:lnTo>
                      <a:pt x="174" y="120"/>
                    </a:lnTo>
                    <a:lnTo>
                      <a:pt x="174" y="116"/>
                    </a:lnTo>
                    <a:lnTo>
                      <a:pt x="160" y="112"/>
                    </a:lnTo>
                    <a:lnTo>
                      <a:pt x="156" y="104"/>
                    </a:lnTo>
                    <a:lnTo>
                      <a:pt x="152" y="102"/>
                    </a:lnTo>
                    <a:lnTo>
                      <a:pt x="148" y="92"/>
                    </a:lnTo>
                    <a:lnTo>
                      <a:pt x="122" y="98"/>
                    </a:lnTo>
                    <a:lnTo>
                      <a:pt x="54" y="116"/>
                    </a:lnTo>
                    <a:lnTo>
                      <a:pt x="52" y="120"/>
                    </a:lnTo>
                    <a:lnTo>
                      <a:pt x="52" y="122"/>
                    </a:lnTo>
                    <a:lnTo>
                      <a:pt x="48" y="116"/>
                    </a:lnTo>
                    <a:lnTo>
                      <a:pt x="2" y="128"/>
                    </a:lnTo>
                    <a:lnTo>
                      <a:pt x="0" y="124"/>
                    </a:lnTo>
                    <a:lnTo>
                      <a:pt x="0" y="5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" name="Freeform 30">
                <a:extLst>
                  <a:ext uri="{FF2B5EF4-FFF2-40B4-BE49-F238E27FC236}">
                    <a16:creationId xmlns:a16="http://schemas.microsoft.com/office/drawing/2014/main" id="{1771C92A-58AC-48DF-AA5F-FC1C15367D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71" y="1339"/>
                <a:ext cx="67" cy="78"/>
              </a:xfrm>
              <a:custGeom>
                <a:avLst/>
                <a:gdLst>
                  <a:gd name="T0" fmla="*/ 0 w 68"/>
                  <a:gd name="T1" fmla="*/ 6 h 76"/>
                  <a:gd name="T2" fmla="*/ 14 w 68"/>
                  <a:gd name="T3" fmla="*/ 64 h 76"/>
                  <a:gd name="T4" fmla="*/ 12 w 68"/>
                  <a:gd name="T5" fmla="*/ 70 h 76"/>
                  <a:gd name="T6" fmla="*/ 12 w 68"/>
                  <a:gd name="T7" fmla="*/ 72 h 76"/>
                  <a:gd name="T8" fmla="*/ 12 w 68"/>
                  <a:gd name="T9" fmla="*/ 76 h 76"/>
                  <a:gd name="T10" fmla="*/ 12 w 68"/>
                  <a:gd name="T11" fmla="*/ 78 h 76"/>
                  <a:gd name="T12" fmla="*/ 16 w 68"/>
                  <a:gd name="T13" fmla="*/ 78 h 76"/>
                  <a:gd name="T14" fmla="*/ 30 w 68"/>
                  <a:gd name="T15" fmla="*/ 68 h 76"/>
                  <a:gd name="T16" fmla="*/ 39 w 68"/>
                  <a:gd name="T17" fmla="*/ 62 h 76"/>
                  <a:gd name="T18" fmla="*/ 39 w 68"/>
                  <a:gd name="T19" fmla="*/ 55 h 76"/>
                  <a:gd name="T20" fmla="*/ 35 w 68"/>
                  <a:gd name="T21" fmla="*/ 49 h 76"/>
                  <a:gd name="T22" fmla="*/ 35 w 68"/>
                  <a:gd name="T23" fmla="*/ 41 h 76"/>
                  <a:gd name="T24" fmla="*/ 41 w 68"/>
                  <a:gd name="T25" fmla="*/ 35 h 76"/>
                  <a:gd name="T26" fmla="*/ 45 w 68"/>
                  <a:gd name="T27" fmla="*/ 37 h 76"/>
                  <a:gd name="T28" fmla="*/ 45 w 68"/>
                  <a:gd name="T29" fmla="*/ 43 h 76"/>
                  <a:gd name="T30" fmla="*/ 45 w 68"/>
                  <a:gd name="T31" fmla="*/ 55 h 76"/>
                  <a:gd name="T32" fmla="*/ 47 w 68"/>
                  <a:gd name="T33" fmla="*/ 57 h 76"/>
                  <a:gd name="T34" fmla="*/ 51 w 68"/>
                  <a:gd name="T35" fmla="*/ 57 h 76"/>
                  <a:gd name="T36" fmla="*/ 51 w 68"/>
                  <a:gd name="T37" fmla="*/ 49 h 76"/>
                  <a:gd name="T38" fmla="*/ 55 w 68"/>
                  <a:gd name="T39" fmla="*/ 49 h 76"/>
                  <a:gd name="T40" fmla="*/ 59 w 68"/>
                  <a:gd name="T41" fmla="*/ 47 h 76"/>
                  <a:gd name="T42" fmla="*/ 67 w 68"/>
                  <a:gd name="T43" fmla="*/ 45 h 76"/>
                  <a:gd name="T44" fmla="*/ 67 w 68"/>
                  <a:gd name="T45" fmla="*/ 43 h 76"/>
                  <a:gd name="T46" fmla="*/ 61 w 68"/>
                  <a:gd name="T47" fmla="*/ 37 h 76"/>
                  <a:gd name="T48" fmla="*/ 61 w 68"/>
                  <a:gd name="T49" fmla="*/ 35 h 76"/>
                  <a:gd name="T50" fmla="*/ 57 w 68"/>
                  <a:gd name="T51" fmla="*/ 35 h 76"/>
                  <a:gd name="T52" fmla="*/ 55 w 68"/>
                  <a:gd name="T53" fmla="*/ 33 h 76"/>
                  <a:gd name="T54" fmla="*/ 51 w 68"/>
                  <a:gd name="T55" fmla="*/ 29 h 76"/>
                  <a:gd name="T56" fmla="*/ 51 w 68"/>
                  <a:gd name="T57" fmla="*/ 25 h 76"/>
                  <a:gd name="T58" fmla="*/ 37 w 68"/>
                  <a:gd name="T59" fmla="*/ 21 h 76"/>
                  <a:gd name="T60" fmla="*/ 34 w 68"/>
                  <a:gd name="T61" fmla="*/ 12 h 76"/>
                  <a:gd name="T62" fmla="*/ 30 w 68"/>
                  <a:gd name="T63" fmla="*/ 10 h 76"/>
                  <a:gd name="T64" fmla="*/ 26 w 68"/>
                  <a:gd name="T65" fmla="*/ 0 h 76"/>
                  <a:gd name="T66" fmla="*/ 0 w 68"/>
                  <a:gd name="T67" fmla="*/ 6 h 7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68" h="76">
                    <a:moveTo>
                      <a:pt x="0" y="6"/>
                    </a:moveTo>
                    <a:lnTo>
                      <a:pt x="14" y="62"/>
                    </a:lnTo>
                    <a:lnTo>
                      <a:pt x="12" y="68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6"/>
                    </a:lnTo>
                    <a:lnTo>
                      <a:pt x="16" y="76"/>
                    </a:lnTo>
                    <a:lnTo>
                      <a:pt x="30" y="66"/>
                    </a:lnTo>
                    <a:lnTo>
                      <a:pt x="40" y="60"/>
                    </a:lnTo>
                    <a:lnTo>
                      <a:pt x="40" y="54"/>
                    </a:lnTo>
                    <a:lnTo>
                      <a:pt x="36" y="48"/>
                    </a:lnTo>
                    <a:lnTo>
                      <a:pt x="36" y="40"/>
                    </a:lnTo>
                    <a:lnTo>
                      <a:pt x="42" y="34"/>
                    </a:lnTo>
                    <a:lnTo>
                      <a:pt x="46" y="36"/>
                    </a:lnTo>
                    <a:lnTo>
                      <a:pt x="46" y="42"/>
                    </a:lnTo>
                    <a:lnTo>
                      <a:pt x="46" y="54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60" y="46"/>
                    </a:lnTo>
                    <a:lnTo>
                      <a:pt x="68" y="44"/>
                    </a:lnTo>
                    <a:lnTo>
                      <a:pt x="68" y="42"/>
                    </a:lnTo>
                    <a:lnTo>
                      <a:pt x="62" y="36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2"/>
                    </a:lnTo>
                    <a:lnTo>
                      <a:pt x="52" y="28"/>
                    </a:lnTo>
                    <a:lnTo>
                      <a:pt x="52" y="24"/>
                    </a:lnTo>
                    <a:lnTo>
                      <a:pt x="38" y="20"/>
                    </a:lnTo>
                    <a:lnTo>
                      <a:pt x="34" y="12"/>
                    </a:lnTo>
                    <a:lnTo>
                      <a:pt x="30" y="10"/>
                    </a:lnTo>
                    <a:lnTo>
                      <a:pt x="2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" name="Freeform 32">
                <a:extLst>
                  <a:ext uri="{FF2B5EF4-FFF2-40B4-BE49-F238E27FC236}">
                    <a16:creationId xmlns:a16="http://schemas.microsoft.com/office/drawing/2014/main" id="{2F304C21-F9EC-451B-BBD7-C08B6FC76D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89" y="1017"/>
                <a:ext cx="127" cy="275"/>
              </a:xfrm>
              <a:custGeom>
                <a:avLst/>
                <a:gdLst>
                  <a:gd name="T0" fmla="*/ 125 w 126"/>
                  <a:gd name="T1" fmla="*/ 233 h 274"/>
                  <a:gd name="T2" fmla="*/ 121 w 126"/>
                  <a:gd name="T3" fmla="*/ 231 h 274"/>
                  <a:gd name="T4" fmla="*/ 115 w 126"/>
                  <a:gd name="T5" fmla="*/ 231 h 274"/>
                  <a:gd name="T6" fmla="*/ 109 w 126"/>
                  <a:gd name="T7" fmla="*/ 243 h 274"/>
                  <a:gd name="T8" fmla="*/ 103 w 126"/>
                  <a:gd name="T9" fmla="*/ 245 h 274"/>
                  <a:gd name="T10" fmla="*/ 103 w 126"/>
                  <a:gd name="T11" fmla="*/ 251 h 274"/>
                  <a:gd name="T12" fmla="*/ 103 w 126"/>
                  <a:gd name="T13" fmla="*/ 253 h 274"/>
                  <a:gd name="T14" fmla="*/ 101 w 126"/>
                  <a:gd name="T15" fmla="*/ 251 h 274"/>
                  <a:gd name="T16" fmla="*/ 97 w 126"/>
                  <a:gd name="T17" fmla="*/ 253 h 274"/>
                  <a:gd name="T18" fmla="*/ 97 w 126"/>
                  <a:gd name="T19" fmla="*/ 257 h 274"/>
                  <a:gd name="T20" fmla="*/ 10 w 126"/>
                  <a:gd name="T21" fmla="*/ 275 h 274"/>
                  <a:gd name="T22" fmla="*/ 10 w 126"/>
                  <a:gd name="T23" fmla="*/ 271 h 274"/>
                  <a:gd name="T24" fmla="*/ 4 w 126"/>
                  <a:gd name="T25" fmla="*/ 265 h 274"/>
                  <a:gd name="T26" fmla="*/ 4 w 126"/>
                  <a:gd name="T27" fmla="*/ 255 h 274"/>
                  <a:gd name="T28" fmla="*/ 6 w 126"/>
                  <a:gd name="T29" fmla="*/ 251 h 274"/>
                  <a:gd name="T30" fmla="*/ 4 w 126"/>
                  <a:gd name="T31" fmla="*/ 241 h 274"/>
                  <a:gd name="T32" fmla="*/ 0 w 126"/>
                  <a:gd name="T33" fmla="*/ 201 h 274"/>
                  <a:gd name="T34" fmla="*/ 0 w 126"/>
                  <a:gd name="T35" fmla="*/ 189 h 274"/>
                  <a:gd name="T36" fmla="*/ 4 w 126"/>
                  <a:gd name="T37" fmla="*/ 165 h 274"/>
                  <a:gd name="T38" fmla="*/ 8 w 126"/>
                  <a:gd name="T39" fmla="*/ 149 h 274"/>
                  <a:gd name="T40" fmla="*/ 10 w 126"/>
                  <a:gd name="T41" fmla="*/ 139 h 274"/>
                  <a:gd name="T42" fmla="*/ 4 w 126"/>
                  <a:gd name="T43" fmla="*/ 128 h 274"/>
                  <a:gd name="T44" fmla="*/ 4 w 126"/>
                  <a:gd name="T45" fmla="*/ 120 h 274"/>
                  <a:gd name="T46" fmla="*/ 8 w 126"/>
                  <a:gd name="T47" fmla="*/ 114 h 274"/>
                  <a:gd name="T48" fmla="*/ 24 w 126"/>
                  <a:gd name="T49" fmla="*/ 102 h 274"/>
                  <a:gd name="T50" fmla="*/ 32 w 126"/>
                  <a:gd name="T51" fmla="*/ 80 h 274"/>
                  <a:gd name="T52" fmla="*/ 24 w 126"/>
                  <a:gd name="T53" fmla="*/ 66 h 274"/>
                  <a:gd name="T54" fmla="*/ 22 w 126"/>
                  <a:gd name="T55" fmla="*/ 60 h 274"/>
                  <a:gd name="T56" fmla="*/ 26 w 126"/>
                  <a:gd name="T57" fmla="*/ 56 h 274"/>
                  <a:gd name="T58" fmla="*/ 24 w 126"/>
                  <a:gd name="T59" fmla="*/ 52 h 274"/>
                  <a:gd name="T60" fmla="*/ 20 w 126"/>
                  <a:gd name="T61" fmla="*/ 38 h 274"/>
                  <a:gd name="T62" fmla="*/ 24 w 126"/>
                  <a:gd name="T63" fmla="*/ 20 h 274"/>
                  <a:gd name="T64" fmla="*/ 20 w 126"/>
                  <a:gd name="T65" fmla="*/ 14 h 274"/>
                  <a:gd name="T66" fmla="*/ 22 w 126"/>
                  <a:gd name="T67" fmla="*/ 10 h 274"/>
                  <a:gd name="T68" fmla="*/ 26 w 126"/>
                  <a:gd name="T69" fmla="*/ 10 h 274"/>
                  <a:gd name="T70" fmla="*/ 30 w 126"/>
                  <a:gd name="T71" fmla="*/ 4 h 274"/>
                  <a:gd name="T72" fmla="*/ 34 w 126"/>
                  <a:gd name="T73" fmla="*/ 6 h 274"/>
                  <a:gd name="T74" fmla="*/ 38 w 126"/>
                  <a:gd name="T75" fmla="*/ 6 h 274"/>
                  <a:gd name="T76" fmla="*/ 42 w 126"/>
                  <a:gd name="T77" fmla="*/ 0 h 274"/>
                  <a:gd name="T78" fmla="*/ 99 w 126"/>
                  <a:gd name="T79" fmla="*/ 169 h 274"/>
                  <a:gd name="T80" fmla="*/ 101 w 126"/>
                  <a:gd name="T81" fmla="*/ 173 h 274"/>
                  <a:gd name="T82" fmla="*/ 101 w 126"/>
                  <a:gd name="T83" fmla="*/ 181 h 274"/>
                  <a:gd name="T84" fmla="*/ 101 w 126"/>
                  <a:gd name="T85" fmla="*/ 183 h 274"/>
                  <a:gd name="T86" fmla="*/ 115 w 126"/>
                  <a:gd name="T87" fmla="*/ 195 h 274"/>
                  <a:gd name="T88" fmla="*/ 117 w 126"/>
                  <a:gd name="T89" fmla="*/ 195 h 274"/>
                  <a:gd name="T90" fmla="*/ 119 w 126"/>
                  <a:gd name="T91" fmla="*/ 201 h 274"/>
                  <a:gd name="T92" fmla="*/ 119 w 126"/>
                  <a:gd name="T93" fmla="*/ 203 h 274"/>
                  <a:gd name="T94" fmla="*/ 127 w 126"/>
                  <a:gd name="T95" fmla="*/ 217 h 274"/>
                  <a:gd name="T96" fmla="*/ 127 w 126"/>
                  <a:gd name="T97" fmla="*/ 221 h 274"/>
                  <a:gd name="T98" fmla="*/ 125 w 126"/>
                  <a:gd name="T99" fmla="*/ 227 h 274"/>
                  <a:gd name="T100" fmla="*/ 125 w 126"/>
                  <a:gd name="T101" fmla="*/ 233 h 27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26" h="274">
                    <a:moveTo>
                      <a:pt x="124" y="232"/>
                    </a:moveTo>
                    <a:lnTo>
                      <a:pt x="120" y="230"/>
                    </a:lnTo>
                    <a:lnTo>
                      <a:pt x="114" y="230"/>
                    </a:lnTo>
                    <a:lnTo>
                      <a:pt x="108" y="242"/>
                    </a:lnTo>
                    <a:lnTo>
                      <a:pt x="102" y="244"/>
                    </a:lnTo>
                    <a:lnTo>
                      <a:pt x="102" y="250"/>
                    </a:lnTo>
                    <a:lnTo>
                      <a:pt x="102" y="252"/>
                    </a:lnTo>
                    <a:lnTo>
                      <a:pt x="100" y="250"/>
                    </a:lnTo>
                    <a:lnTo>
                      <a:pt x="96" y="252"/>
                    </a:lnTo>
                    <a:lnTo>
                      <a:pt x="96" y="256"/>
                    </a:lnTo>
                    <a:lnTo>
                      <a:pt x="10" y="274"/>
                    </a:lnTo>
                    <a:lnTo>
                      <a:pt x="10" y="270"/>
                    </a:lnTo>
                    <a:lnTo>
                      <a:pt x="4" y="264"/>
                    </a:lnTo>
                    <a:lnTo>
                      <a:pt x="4" y="254"/>
                    </a:lnTo>
                    <a:lnTo>
                      <a:pt x="6" y="250"/>
                    </a:lnTo>
                    <a:lnTo>
                      <a:pt x="4" y="240"/>
                    </a:lnTo>
                    <a:lnTo>
                      <a:pt x="0" y="200"/>
                    </a:lnTo>
                    <a:lnTo>
                      <a:pt x="0" y="188"/>
                    </a:lnTo>
                    <a:lnTo>
                      <a:pt x="4" y="164"/>
                    </a:lnTo>
                    <a:lnTo>
                      <a:pt x="8" y="148"/>
                    </a:lnTo>
                    <a:lnTo>
                      <a:pt x="10" y="138"/>
                    </a:lnTo>
                    <a:lnTo>
                      <a:pt x="4" y="128"/>
                    </a:lnTo>
                    <a:lnTo>
                      <a:pt x="4" y="120"/>
                    </a:lnTo>
                    <a:lnTo>
                      <a:pt x="8" y="114"/>
                    </a:lnTo>
                    <a:lnTo>
                      <a:pt x="24" y="102"/>
                    </a:lnTo>
                    <a:lnTo>
                      <a:pt x="32" y="80"/>
                    </a:lnTo>
                    <a:lnTo>
                      <a:pt x="24" y="66"/>
                    </a:lnTo>
                    <a:lnTo>
                      <a:pt x="22" y="60"/>
                    </a:lnTo>
                    <a:lnTo>
                      <a:pt x="26" y="56"/>
                    </a:lnTo>
                    <a:lnTo>
                      <a:pt x="24" y="52"/>
                    </a:lnTo>
                    <a:lnTo>
                      <a:pt x="20" y="38"/>
                    </a:lnTo>
                    <a:lnTo>
                      <a:pt x="24" y="20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0"/>
                    </a:lnTo>
                    <a:lnTo>
                      <a:pt x="98" y="168"/>
                    </a:lnTo>
                    <a:lnTo>
                      <a:pt x="100" y="172"/>
                    </a:lnTo>
                    <a:lnTo>
                      <a:pt x="100" y="180"/>
                    </a:lnTo>
                    <a:lnTo>
                      <a:pt x="100" y="182"/>
                    </a:lnTo>
                    <a:lnTo>
                      <a:pt x="114" y="194"/>
                    </a:lnTo>
                    <a:lnTo>
                      <a:pt x="116" y="194"/>
                    </a:lnTo>
                    <a:lnTo>
                      <a:pt x="118" y="200"/>
                    </a:lnTo>
                    <a:lnTo>
                      <a:pt x="118" y="202"/>
                    </a:lnTo>
                    <a:lnTo>
                      <a:pt x="126" y="216"/>
                    </a:lnTo>
                    <a:lnTo>
                      <a:pt x="126" y="220"/>
                    </a:lnTo>
                    <a:lnTo>
                      <a:pt x="124" y="226"/>
                    </a:lnTo>
                    <a:lnTo>
                      <a:pt x="124" y="23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" name="Freeform 33">
                <a:extLst>
                  <a:ext uri="{FF2B5EF4-FFF2-40B4-BE49-F238E27FC236}">
                    <a16:creationId xmlns:a16="http://schemas.microsoft.com/office/drawing/2014/main" id="{55878278-AAD5-4BDB-B57F-0C3395BA596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2" y="767"/>
                <a:ext cx="289" cy="467"/>
              </a:xfrm>
              <a:custGeom>
                <a:avLst/>
                <a:gdLst>
                  <a:gd name="T0" fmla="*/ 56 w 288"/>
                  <a:gd name="T1" fmla="*/ 419 h 464"/>
                  <a:gd name="T2" fmla="*/ 58 w 288"/>
                  <a:gd name="T3" fmla="*/ 431 h 464"/>
                  <a:gd name="T4" fmla="*/ 72 w 288"/>
                  <a:gd name="T5" fmla="*/ 445 h 464"/>
                  <a:gd name="T6" fmla="*/ 76 w 288"/>
                  <a:gd name="T7" fmla="*/ 451 h 464"/>
                  <a:gd name="T8" fmla="*/ 84 w 288"/>
                  <a:gd name="T9" fmla="*/ 467 h 464"/>
                  <a:gd name="T10" fmla="*/ 88 w 288"/>
                  <a:gd name="T11" fmla="*/ 453 h 464"/>
                  <a:gd name="T12" fmla="*/ 94 w 288"/>
                  <a:gd name="T13" fmla="*/ 429 h 464"/>
                  <a:gd name="T14" fmla="*/ 106 w 288"/>
                  <a:gd name="T15" fmla="*/ 403 h 464"/>
                  <a:gd name="T16" fmla="*/ 104 w 288"/>
                  <a:gd name="T17" fmla="*/ 397 h 464"/>
                  <a:gd name="T18" fmla="*/ 118 w 288"/>
                  <a:gd name="T19" fmla="*/ 368 h 464"/>
                  <a:gd name="T20" fmla="*/ 124 w 288"/>
                  <a:gd name="T21" fmla="*/ 378 h 464"/>
                  <a:gd name="T22" fmla="*/ 130 w 288"/>
                  <a:gd name="T23" fmla="*/ 378 h 464"/>
                  <a:gd name="T24" fmla="*/ 130 w 288"/>
                  <a:gd name="T25" fmla="*/ 364 h 464"/>
                  <a:gd name="T26" fmla="*/ 151 w 288"/>
                  <a:gd name="T27" fmla="*/ 358 h 464"/>
                  <a:gd name="T28" fmla="*/ 155 w 288"/>
                  <a:gd name="T29" fmla="*/ 348 h 464"/>
                  <a:gd name="T30" fmla="*/ 167 w 288"/>
                  <a:gd name="T31" fmla="*/ 344 h 464"/>
                  <a:gd name="T32" fmla="*/ 173 w 288"/>
                  <a:gd name="T33" fmla="*/ 330 h 464"/>
                  <a:gd name="T34" fmla="*/ 179 w 288"/>
                  <a:gd name="T35" fmla="*/ 310 h 464"/>
                  <a:gd name="T36" fmla="*/ 183 w 288"/>
                  <a:gd name="T37" fmla="*/ 304 h 464"/>
                  <a:gd name="T38" fmla="*/ 199 w 288"/>
                  <a:gd name="T39" fmla="*/ 302 h 464"/>
                  <a:gd name="T40" fmla="*/ 205 w 288"/>
                  <a:gd name="T41" fmla="*/ 288 h 464"/>
                  <a:gd name="T42" fmla="*/ 217 w 288"/>
                  <a:gd name="T43" fmla="*/ 276 h 464"/>
                  <a:gd name="T44" fmla="*/ 235 w 288"/>
                  <a:gd name="T45" fmla="*/ 284 h 464"/>
                  <a:gd name="T46" fmla="*/ 253 w 288"/>
                  <a:gd name="T47" fmla="*/ 260 h 464"/>
                  <a:gd name="T48" fmla="*/ 273 w 288"/>
                  <a:gd name="T49" fmla="*/ 240 h 464"/>
                  <a:gd name="T50" fmla="*/ 279 w 288"/>
                  <a:gd name="T51" fmla="*/ 238 h 464"/>
                  <a:gd name="T52" fmla="*/ 289 w 288"/>
                  <a:gd name="T53" fmla="*/ 227 h 464"/>
                  <a:gd name="T54" fmla="*/ 283 w 288"/>
                  <a:gd name="T55" fmla="*/ 217 h 464"/>
                  <a:gd name="T56" fmla="*/ 277 w 288"/>
                  <a:gd name="T57" fmla="*/ 215 h 464"/>
                  <a:gd name="T58" fmla="*/ 283 w 288"/>
                  <a:gd name="T59" fmla="*/ 207 h 464"/>
                  <a:gd name="T60" fmla="*/ 277 w 288"/>
                  <a:gd name="T61" fmla="*/ 189 h 464"/>
                  <a:gd name="T62" fmla="*/ 263 w 288"/>
                  <a:gd name="T63" fmla="*/ 185 h 464"/>
                  <a:gd name="T64" fmla="*/ 255 w 288"/>
                  <a:gd name="T65" fmla="*/ 191 h 464"/>
                  <a:gd name="T66" fmla="*/ 241 w 288"/>
                  <a:gd name="T67" fmla="*/ 163 h 464"/>
                  <a:gd name="T68" fmla="*/ 243 w 288"/>
                  <a:gd name="T69" fmla="*/ 155 h 464"/>
                  <a:gd name="T70" fmla="*/ 237 w 288"/>
                  <a:gd name="T71" fmla="*/ 153 h 464"/>
                  <a:gd name="T72" fmla="*/ 223 w 288"/>
                  <a:gd name="T73" fmla="*/ 151 h 464"/>
                  <a:gd name="T74" fmla="*/ 213 w 288"/>
                  <a:gd name="T75" fmla="*/ 149 h 464"/>
                  <a:gd name="T76" fmla="*/ 209 w 288"/>
                  <a:gd name="T77" fmla="*/ 131 h 464"/>
                  <a:gd name="T78" fmla="*/ 142 w 288"/>
                  <a:gd name="T79" fmla="*/ 2 h 464"/>
                  <a:gd name="T80" fmla="*/ 128 w 288"/>
                  <a:gd name="T81" fmla="*/ 2 h 464"/>
                  <a:gd name="T82" fmla="*/ 122 w 288"/>
                  <a:gd name="T83" fmla="*/ 12 h 464"/>
                  <a:gd name="T84" fmla="*/ 108 w 288"/>
                  <a:gd name="T85" fmla="*/ 16 h 464"/>
                  <a:gd name="T86" fmla="*/ 88 w 288"/>
                  <a:gd name="T87" fmla="*/ 30 h 464"/>
                  <a:gd name="T88" fmla="*/ 82 w 288"/>
                  <a:gd name="T89" fmla="*/ 12 h 464"/>
                  <a:gd name="T90" fmla="*/ 74 w 288"/>
                  <a:gd name="T91" fmla="*/ 8 h 464"/>
                  <a:gd name="T92" fmla="*/ 38 w 288"/>
                  <a:gd name="T93" fmla="*/ 97 h 464"/>
                  <a:gd name="T94" fmla="*/ 42 w 288"/>
                  <a:gd name="T95" fmla="*/ 115 h 464"/>
                  <a:gd name="T96" fmla="*/ 40 w 288"/>
                  <a:gd name="T97" fmla="*/ 131 h 464"/>
                  <a:gd name="T98" fmla="*/ 32 w 288"/>
                  <a:gd name="T99" fmla="*/ 143 h 464"/>
                  <a:gd name="T100" fmla="*/ 36 w 288"/>
                  <a:gd name="T101" fmla="*/ 189 h 464"/>
                  <a:gd name="T102" fmla="*/ 24 w 288"/>
                  <a:gd name="T103" fmla="*/ 215 h 464"/>
                  <a:gd name="T104" fmla="*/ 26 w 288"/>
                  <a:gd name="T105" fmla="*/ 231 h 464"/>
                  <a:gd name="T106" fmla="*/ 18 w 288"/>
                  <a:gd name="T107" fmla="*/ 234 h 464"/>
                  <a:gd name="T108" fmla="*/ 18 w 288"/>
                  <a:gd name="T109" fmla="*/ 248 h 464"/>
                  <a:gd name="T110" fmla="*/ 8 w 288"/>
                  <a:gd name="T111" fmla="*/ 246 h 4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288" h="464">
                    <a:moveTo>
                      <a:pt x="0" y="248"/>
                    </a:moveTo>
                    <a:lnTo>
                      <a:pt x="56" y="416"/>
                    </a:lnTo>
                    <a:lnTo>
                      <a:pt x="58" y="420"/>
                    </a:lnTo>
                    <a:lnTo>
                      <a:pt x="58" y="428"/>
                    </a:lnTo>
                    <a:lnTo>
                      <a:pt x="58" y="430"/>
                    </a:lnTo>
                    <a:lnTo>
                      <a:pt x="72" y="442"/>
                    </a:lnTo>
                    <a:lnTo>
                      <a:pt x="74" y="442"/>
                    </a:lnTo>
                    <a:lnTo>
                      <a:pt x="76" y="448"/>
                    </a:lnTo>
                    <a:lnTo>
                      <a:pt x="76" y="450"/>
                    </a:lnTo>
                    <a:lnTo>
                      <a:pt x="84" y="464"/>
                    </a:lnTo>
                    <a:lnTo>
                      <a:pt x="86" y="462"/>
                    </a:lnTo>
                    <a:lnTo>
                      <a:pt x="88" y="450"/>
                    </a:lnTo>
                    <a:lnTo>
                      <a:pt x="88" y="438"/>
                    </a:lnTo>
                    <a:lnTo>
                      <a:pt x="94" y="426"/>
                    </a:lnTo>
                    <a:lnTo>
                      <a:pt x="100" y="408"/>
                    </a:lnTo>
                    <a:lnTo>
                      <a:pt x="106" y="400"/>
                    </a:lnTo>
                    <a:lnTo>
                      <a:pt x="108" y="396"/>
                    </a:lnTo>
                    <a:lnTo>
                      <a:pt x="104" y="394"/>
                    </a:lnTo>
                    <a:lnTo>
                      <a:pt x="100" y="384"/>
                    </a:lnTo>
                    <a:lnTo>
                      <a:pt x="118" y="366"/>
                    </a:lnTo>
                    <a:lnTo>
                      <a:pt x="122" y="368"/>
                    </a:lnTo>
                    <a:lnTo>
                      <a:pt x="124" y="376"/>
                    </a:lnTo>
                    <a:lnTo>
                      <a:pt x="126" y="378"/>
                    </a:lnTo>
                    <a:lnTo>
                      <a:pt x="130" y="376"/>
                    </a:lnTo>
                    <a:lnTo>
                      <a:pt x="130" y="368"/>
                    </a:lnTo>
                    <a:lnTo>
                      <a:pt x="130" y="362"/>
                    </a:lnTo>
                    <a:lnTo>
                      <a:pt x="144" y="360"/>
                    </a:lnTo>
                    <a:lnTo>
                      <a:pt x="150" y="356"/>
                    </a:lnTo>
                    <a:lnTo>
                      <a:pt x="150" y="348"/>
                    </a:lnTo>
                    <a:lnTo>
                      <a:pt x="154" y="346"/>
                    </a:lnTo>
                    <a:lnTo>
                      <a:pt x="160" y="346"/>
                    </a:lnTo>
                    <a:lnTo>
                      <a:pt x="166" y="342"/>
                    </a:lnTo>
                    <a:lnTo>
                      <a:pt x="168" y="338"/>
                    </a:lnTo>
                    <a:lnTo>
                      <a:pt x="172" y="328"/>
                    </a:lnTo>
                    <a:lnTo>
                      <a:pt x="170" y="318"/>
                    </a:lnTo>
                    <a:lnTo>
                      <a:pt x="178" y="308"/>
                    </a:lnTo>
                    <a:lnTo>
                      <a:pt x="178" y="302"/>
                    </a:lnTo>
                    <a:lnTo>
                      <a:pt x="182" y="302"/>
                    </a:lnTo>
                    <a:lnTo>
                      <a:pt x="192" y="304"/>
                    </a:lnTo>
                    <a:lnTo>
                      <a:pt x="198" y="300"/>
                    </a:lnTo>
                    <a:lnTo>
                      <a:pt x="200" y="296"/>
                    </a:lnTo>
                    <a:lnTo>
                      <a:pt x="204" y="286"/>
                    </a:lnTo>
                    <a:lnTo>
                      <a:pt x="208" y="286"/>
                    </a:lnTo>
                    <a:lnTo>
                      <a:pt x="216" y="274"/>
                    </a:lnTo>
                    <a:lnTo>
                      <a:pt x="226" y="276"/>
                    </a:lnTo>
                    <a:lnTo>
                      <a:pt x="234" y="282"/>
                    </a:lnTo>
                    <a:lnTo>
                      <a:pt x="244" y="264"/>
                    </a:lnTo>
                    <a:lnTo>
                      <a:pt x="252" y="258"/>
                    </a:lnTo>
                    <a:lnTo>
                      <a:pt x="268" y="246"/>
                    </a:lnTo>
                    <a:lnTo>
                      <a:pt x="272" y="238"/>
                    </a:lnTo>
                    <a:lnTo>
                      <a:pt x="274" y="236"/>
                    </a:lnTo>
                    <a:lnTo>
                      <a:pt x="278" y="236"/>
                    </a:lnTo>
                    <a:lnTo>
                      <a:pt x="286" y="234"/>
                    </a:lnTo>
                    <a:lnTo>
                      <a:pt x="288" y="226"/>
                    </a:lnTo>
                    <a:lnTo>
                      <a:pt x="288" y="218"/>
                    </a:lnTo>
                    <a:lnTo>
                      <a:pt x="282" y="216"/>
                    </a:lnTo>
                    <a:lnTo>
                      <a:pt x="280" y="216"/>
                    </a:lnTo>
                    <a:lnTo>
                      <a:pt x="276" y="214"/>
                    </a:lnTo>
                    <a:lnTo>
                      <a:pt x="280" y="208"/>
                    </a:lnTo>
                    <a:lnTo>
                      <a:pt x="282" y="206"/>
                    </a:lnTo>
                    <a:lnTo>
                      <a:pt x="280" y="200"/>
                    </a:lnTo>
                    <a:lnTo>
                      <a:pt x="276" y="188"/>
                    </a:lnTo>
                    <a:lnTo>
                      <a:pt x="268" y="184"/>
                    </a:lnTo>
                    <a:lnTo>
                      <a:pt x="262" y="184"/>
                    </a:lnTo>
                    <a:lnTo>
                      <a:pt x="260" y="188"/>
                    </a:lnTo>
                    <a:lnTo>
                      <a:pt x="254" y="190"/>
                    </a:lnTo>
                    <a:lnTo>
                      <a:pt x="248" y="188"/>
                    </a:lnTo>
                    <a:lnTo>
                      <a:pt x="240" y="162"/>
                    </a:lnTo>
                    <a:lnTo>
                      <a:pt x="244" y="158"/>
                    </a:lnTo>
                    <a:lnTo>
                      <a:pt x="242" y="154"/>
                    </a:lnTo>
                    <a:lnTo>
                      <a:pt x="240" y="152"/>
                    </a:lnTo>
                    <a:lnTo>
                      <a:pt x="236" y="152"/>
                    </a:lnTo>
                    <a:lnTo>
                      <a:pt x="232" y="154"/>
                    </a:lnTo>
                    <a:lnTo>
                      <a:pt x="222" y="150"/>
                    </a:lnTo>
                    <a:lnTo>
                      <a:pt x="216" y="150"/>
                    </a:lnTo>
                    <a:lnTo>
                      <a:pt x="212" y="148"/>
                    </a:lnTo>
                    <a:lnTo>
                      <a:pt x="208" y="132"/>
                    </a:lnTo>
                    <a:lnTo>
                      <a:pt x="208" y="130"/>
                    </a:lnTo>
                    <a:lnTo>
                      <a:pt x="172" y="20"/>
                    </a:lnTo>
                    <a:lnTo>
                      <a:pt x="142" y="2"/>
                    </a:lnTo>
                    <a:lnTo>
                      <a:pt x="134" y="0"/>
                    </a:lnTo>
                    <a:lnTo>
                      <a:pt x="128" y="2"/>
                    </a:lnTo>
                    <a:lnTo>
                      <a:pt x="124" y="6"/>
                    </a:lnTo>
                    <a:lnTo>
                      <a:pt x="122" y="12"/>
                    </a:lnTo>
                    <a:lnTo>
                      <a:pt x="118" y="12"/>
                    </a:lnTo>
                    <a:lnTo>
                      <a:pt x="108" y="16"/>
                    </a:lnTo>
                    <a:lnTo>
                      <a:pt x="92" y="30"/>
                    </a:lnTo>
                    <a:lnTo>
                      <a:pt x="88" y="30"/>
                    </a:lnTo>
                    <a:lnTo>
                      <a:pt x="82" y="22"/>
                    </a:lnTo>
                    <a:lnTo>
                      <a:pt x="82" y="12"/>
                    </a:lnTo>
                    <a:lnTo>
                      <a:pt x="80" y="8"/>
                    </a:lnTo>
                    <a:lnTo>
                      <a:pt x="74" y="8"/>
                    </a:lnTo>
                    <a:lnTo>
                      <a:pt x="64" y="12"/>
                    </a:lnTo>
                    <a:lnTo>
                      <a:pt x="38" y="96"/>
                    </a:lnTo>
                    <a:lnTo>
                      <a:pt x="38" y="110"/>
                    </a:lnTo>
                    <a:lnTo>
                      <a:pt x="42" y="114"/>
                    </a:lnTo>
                    <a:lnTo>
                      <a:pt x="42" y="124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2" y="142"/>
                    </a:lnTo>
                    <a:lnTo>
                      <a:pt x="40" y="176"/>
                    </a:lnTo>
                    <a:lnTo>
                      <a:pt x="36" y="188"/>
                    </a:lnTo>
                    <a:lnTo>
                      <a:pt x="36" y="196"/>
                    </a:lnTo>
                    <a:lnTo>
                      <a:pt x="24" y="214"/>
                    </a:lnTo>
                    <a:lnTo>
                      <a:pt x="22" y="220"/>
                    </a:lnTo>
                    <a:lnTo>
                      <a:pt x="26" y="230"/>
                    </a:lnTo>
                    <a:lnTo>
                      <a:pt x="26" y="232"/>
                    </a:lnTo>
                    <a:lnTo>
                      <a:pt x="18" y="232"/>
                    </a:lnTo>
                    <a:lnTo>
                      <a:pt x="20" y="240"/>
                    </a:lnTo>
                    <a:lnTo>
                      <a:pt x="18" y="246"/>
                    </a:lnTo>
                    <a:lnTo>
                      <a:pt x="14" y="246"/>
                    </a:lnTo>
                    <a:lnTo>
                      <a:pt x="8" y="244"/>
                    </a:lnTo>
                    <a:lnTo>
                      <a:pt x="0" y="24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7" name="Freeform 34">
                <a:extLst>
                  <a:ext uri="{FF2B5EF4-FFF2-40B4-BE49-F238E27FC236}">
                    <a16:creationId xmlns:a16="http://schemas.microsoft.com/office/drawing/2014/main" id="{25DA3E3F-A62E-4609-8445-5C12334E4A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13" y="2112"/>
                <a:ext cx="392" cy="364"/>
              </a:xfrm>
              <a:custGeom>
                <a:avLst/>
                <a:gdLst>
                  <a:gd name="T0" fmla="*/ 0 w 392"/>
                  <a:gd name="T1" fmla="*/ 16 h 360"/>
                  <a:gd name="T2" fmla="*/ 352 w 392"/>
                  <a:gd name="T3" fmla="*/ 0 h 360"/>
                  <a:gd name="T4" fmla="*/ 350 w 392"/>
                  <a:gd name="T5" fmla="*/ 4 h 360"/>
                  <a:gd name="T6" fmla="*/ 358 w 392"/>
                  <a:gd name="T7" fmla="*/ 10 h 360"/>
                  <a:gd name="T8" fmla="*/ 362 w 392"/>
                  <a:gd name="T9" fmla="*/ 18 h 360"/>
                  <a:gd name="T10" fmla="*/ 360 w 392"/>
                  <a:gd name="T11" fmla="*/ 26 h 360"/>
                  <a:gd name="T12" fmla="*/ 350 w 392"/>
                  <a:gd name="T13" fmla="*/ 34 h 360"/>
                  <a:gd name="T14" fmla="*/ 340 w 392"/>
                  <a:gd name="T15" fmla="*/ 47 h 360"/>
                  <a:gd name="T16" fmla="*/ 338 w 392"/>
                  <a:gd name="T17" fmla="*/ 53 h 360"/>
                  <a:gd name="T18" fmla="*/ 392 w 392"/>
                  <a:gd name="T19" fmla="*/ 49 h 360"/>
                  <a:gd name="T20" fmla="*/ 390 w 392"/>
                  <a:gd name="T21" fmla="*/ 55 h 360"/>
                  <a:gd name="T22" fmla="*/ 392 w 392"/>
                  <a:gd name="T23" fmla="*/ 59 h 360"/>
                  <a:gd name="T24" fmla="*/ 388 w 392"/>
                  <a:gd name="T25" fmla="*/ 67 h 360"/>
                  <a:gd name="T26" fmla="*/ 378 w 392"/>
                  <a:gd name="T27" fmla="*/ 77 h 360"/>
                  <a:gd name="T28" fmla="*/ 374 w 392"/>
                  <a:gd name="T29" fmla="*/ 99 h 360"/>
                  <a:gd name="T30" fmla="*/ 364 w 392"/>
                  <a:gd name="T31" fmla="*/ 111 h 360"/>
                  <a:gd name="T32" fmla="*/ 366 w 392"/>
                  <a:gd name="T33" fmla="*/ 125 h 360"/>
                  <a:gd name="T34" fmla="*/ 364 w 392"/>
                  <a:gd name="T35" fmla="*/ 144 h 360"/>
                  <a:gd name="T36" fmla="*/ 362 w 392"/>
                  <a:gd name="T37" fmla="*/ 144 h 360"/>
                  <a:gd name="T38" fmla="*/ 354 w 392"/>
                  <a:gd name="T39" fmla="*/ 154 h 360"/>
                  <a:gd name="T40" fmla="*/ 352 w 392"/>
                  <a:gd name="T41" fmla="*/ 158 h 360"/>
                  <a:gd name="T42" fmla="*/ 336 w 392"/>
                  <a:gd name="T43" fmla="*/ 172 h 360"/>
                  <a:gd name="T44" fmla="*/ 332 w 392"/>
                  <a:gd name="T45" fmla="*/ 188 h 360"/>
                  <a:gd name="T46" fmla="*/ 332 w 392"/>
                  <a:gd name="T47" fmla="*/ 202 h 360"/>
                  <a:gd name="T48" fmla="*/ 330 w 392"/>
                  <a:gd name="T49" fmla="*/ 212 h 360"/>
                  <a:gd name="T50" fmla="*/ 316 w 392"/>
                  <a:gd name="T51" fmla="*/ 220 h 360"/>
                  <a:gd name="T52" fmla="*/ 306 w 392"/>
                  <a:gd name="T53" fmla="*/ 237 h 360"/>
                  <a:gd name="T54" fmla="*/ 302 w 392"/>
                  <a:gd name="T55" fmla="*/ 241 h 360"/>
                  <a:gd name="T56" fmla="*/ 302 w 392"/>
                  <a:gd name="T57" fmla="*/ 253 h 360"/>
                  <a:gd name="T58" fmla="*/ 294 w 392"/>
                  <a:gd name="T59" fmla="*/ 263 h 360"/>
                  <a:gd name="T60" fmla="*/ 294 w 392"/>
                  <a:gd name="T61" fmla="*/ 273 h 360"/>
                  <a:gd name="T62" fmla="*/ 290 w 392"/>
                  <a:gd name="T63" fmla="*/ 285 h 360"/>
                  <a:gd name="T64" fmla="*/ 282 w 392"/>
                  <a:gd name="T65" fmla="*/ 299 h 360"/>
                  <a:gd name="T66" fmla="*/ 284 w 392"/>
                  <a:gd name="T67" fmla="*/ 315 h 360"/>
                  <a:gd name="T68" fmla="*/ 292 w 392"/>
                  <a:gd name="T69" fmla="*/ 324 h 360"/>
                  <a:gd name="T70" fmla="*/ 294 w 392"/>
                  <a:gd name="T71" fmla="*/ 334 h 360"/>
                  <a:gd name="T72" fmla="*/ 296 w 392"/>
                  <a:gd name="T73" fmla="*/ 336 h 360"/>
                  <a:gd name="T74" fmla="*/ 296 w 392"/>
                  <a:gd name="T75" fmla="*/ 340 h 360"/>
                  <a:gd name="T76" fmla="*/ 292 w 392"/>
                  <a:gd name="T77" fmla="*/ 344 h 360"/>
                  <a:gd name="T78" fmla="*/ 290 w 392"/>
                  <a:gd name="T79" fmla="*/ 352 h 360"/>
                  <a:gd name="T80" fmla="*/ 290 w 392"/>
                  <a:gd name="T81" fmla="*/ 358 h 360"/>
                  <a:gd name="T82" fmla="*/ 50 w 392"/>
                  <a:gd name="T83" fmla="*/ 364 h 360"/>
                  <a:gd name="T84" fmla="*/ 50 w 392"/>
                  <a:gd name="T85" fmla="*/ 311 h 360"/>
                  <a:gd name="T86" fmla="*/ 38 w 392"/>
                  <a:gd name="T87" fmla="*/ 309 h 360"/>
                  <a:gd name="T88" fmla="*/ 28 w 392"/>
                  <a:gd name="T89" fmla="*/ 313 h 360"/>
                  <a:gd name="T90" fmla="*/ 24 w 392"/>
                  <a:gd name="T91" fmla="*/ 311 h 360"/>
                  <a:gd name="T92" fmla="*/ 12 w 392"/>
                  <a:gd name="T93" fmla="*/ 303 h 360"/>
                  <a:gd name="T94" fmla="*/ 14 w 392"/>
                  <a:gd name="T95" fmla="*/ 125 h 360"/>
                  <a:gd name="T96" fmla="*/ 0 w 392"/>
                  <a:gd name="T97" fmla="*/ 16 h 36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392" h="360">
                    <a:moveTo>
                      <a:pt x="0" y="16"/>
                    </a:moveTo>
                    <a:lnTo>
                      <a:pt x="352" y="0"/>
                    </a:lnTo>
                    <a:lnTo>
                      <a:pt x="350" y="4"/>
                    </a:lnTo>
                    <a:lnTo>
                      <a:pt x="358" y="10"/>
                    </a:lnTo>
                    <a:lnTo>
                      <a:pt x="362" y="18"/>
                    </a:lnTo>
                    <a:lnTo>
                      <a:pt x="360" y="26"/>
                    </a:lnTo>
                    <a:lnTo>
                      <a:pt x="350" y="34"/>
                    </a:lnTo>
                    <a:lnTo>
                      <a:pt x="340" y="46"/>
                    </a:lnTo>
                    <a:lnTo>
                      <a:pt x="338" y="52"/>
                    </a:lnTo>
                    <a:lnTo>
                      <a:pt x="392" y="48"/>
                    </a:lnTo>
                    <a:lnTo>
                      <a:pt x="390" y="54"/>
                    </a:lnTo>
                    <a:lnTo>
                      <a:pt x="392" y="58"/>
                    </a:lnTo>
                    <a:lnTo>
                      <a:pt x="388" y="66"/>
                    </a:lnTo>
                    <a:lnTo>
                      <a:pt x="378" y="76"/>
                    </a:lnTo>
                    <a:lnTo>
                      <a:pt x="374" y="98"/>
                    </a:lnTo>
                    <a:lnTo>
                      <a:pt x="364" y="110"/>
                    </a:lnTo>
                    <a:lnTo>
                      <a:pt x="366" y="124"/>
                    </a:lnTo>
                    <a:lnTo>
                      <a:pt x="364" y="142"/>
                    </a:lnTo>
                    <a:lnTo>
                      <a:pt x="362" y="142"/>
                    </a:lnTo>
                    <a:lnTo>
                      <a:pt x="354" y="152"/>
                    </a:lnTo>
                    <a:lnTo>
                      <a:pt x="352" y="156"/>
                    </a:lnTo>
                    <a:lnTo>
                      <a:pt x="336" y="170"/>
                    </a:lnTo>
                    <a:lnTo>
                      <a:pt x="332" y="186"/>
                    </a:lnTo>
                    <a:lnTo>
                      <a:pt x="332" y="200"/>
                    </a:lnTo>
                    <a:lnTo>
                      <a:pt x="330" y="210"/>
                    </a:lnTo>
                    <a:lnTo>
                      <a:pt x="316" y="218"/>
                    </a:lnTo>
                    <a:lnTo>
                      <a:pt x="306" y="234"/>
                    </a:lnTo>
                    <a:lnTo>
                      <a:pt x="302" y="238"/>
                    </a:lnTo>
                    <a:lnTo>
                      <a:pt x="302" y="250"/>
                    </a:lnTo>
                    <a:lnTo>
                      <a:pt x="294" y="260"/>
                    </a:lnTo>
                    <a:lnTo>
                      <a:pt x="294" y="270"/>
                    </a:lnTo>
                    <a:lnTo>
                      <a:pt x="290" y="282"/>
                    </a:lnTo>
                    <a:lnTo>
                      <a:pt x="282" y="296"/>
                    </a:lnTo>
                    <a:lnTo>
                      <a:pt x="284" y="312"/>
                    </a:lnTo>
                    <a:lnTo>
                      <a:pt x="292" y="320"/>
                    </a:lnTo>
                    <a:lnTo>
                      <a:pt x="294" y="330"/>
                    </a:lnTo>
                    <a:lnTo>
                      <a:pt x="296" y="332"/>
                    </a:lnTo>
                    <a:lnTo>
                      <a:pt x="296" y="336"/>
                    </a:lnTo>
                    <a:lnTo>
                      <a:pt x="292" y="340"/>
                    </a:lnTo>
                    <a:lnTo>
                      <a:pt x="290" y="348"/>
                    </a:lnTo>
                    <a:lnTo>
                      <a:pt x="290" y="354"/>
                    </a:lnTo>
                    <a:lnTo>
                      <a:pt x="50" y="360"/>
                    </a:lnTo>
                    <a:lnTo>
                      <a:pt x="50" y="308"/>
                    </a:lnTo>
                    <a:lnTo>
                      <a:pt x="38" y="306"/>
                    </a:lnTo>
                    <a:lnTo>
                      <a:pt x="28" y="310"/>
                    </a:lnTo>
                    <a:lnTo>
                      <a:pt x="24" y="308"/>
                    </a:lnTo>
                    <a:lnTo>
                      <a:pt x="12" y="300"/>
                    </a:lnTo>
                    <a:lnTo>
                      <a:pt x="14" y="124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" name="Freeform 35">
                <a:extLst>
                  <a:ext uri="{FF2B5EF4-FFF2-40B4-BE49-F238E27FC236}">
                    <a16:creationId xmlns:a16="http://schemas.microsoft.com/office/drawing/2014/main" id="{A67AB202-3C3F-4A3E-A486-123273360B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78" y="1453"/>
                <a:ext cx="450" cy="555"/>
              </a:xfrm>
              <a:custGeom>
                <a:avLst/>
                <a:gdLst>
                  <a:gd name="T0" fmla="*/ 396 w 446"/>
                  <a:gd name="T1" fmla="*/ 555 h 554"/>
                  <a:gd name="T2" fmla="*/ 450 w 446"/>
                  <a:gd name="T3" fmla="*/ 158 h 554"/>
                  <a:gd name="T4" fmla="*/ 303 w 446"/>
                  <a:gd name="T5" fmla="*/ 136 h 554"/>
                  <a:gd name="T6" fmla="*/ 317 w 446"/>
                  <a:gd name="T7" fmla="*/ 40 h 554"/>
                  <a:gd name="T8" fmla="*/ 97 w 446"/>
                  <a:gd name="T9" fmla="*/ 0 h 554"/>
                  <a:gd name="T10" fmla="*/ 0 w 446"/>
                  <a:gd name="T11" fmla="*/ 493 h 554"/>
                  <a:gd name="T12" fmla="*/ 0 w 446"/>
                  <a:gd name="T13" fmla="*/ 493 h 554"/>
                  <a:gd name="T14" fmla="*/ 396 w 446"/>
                  <a:gd name="T15" fmla="*/ 555 h 55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6" h="554">
                    <a:moveTo>
                      <a:pt x="392" y="554"/>
                    </a:moveTo>
                    <a:lnTo>
                      <a:pt x="446" y="158"/>
                    </a:lnTo>
                    <a:lnTo>
                      <a:pt x="300" y="136"/>
                    </a:lnTo>
                    <a:lnTo>
                      <a:pt x="314" y="40"/>
                    </a:lnTo>
                    <a:lnTo>
                      <a:pt x="96" y="0"/>
                    </a:lnTo>
                    <a:lnTo>
                      <a:pt x="0" y="492"/>
                    </a:lnTo>
                    <a:lnTo>
                      <a:pt x="392" y="55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" name="Freeform 36">
                <a:extLst>
                  <a:ext uri="{FF2B5EF4-FFF2-40B4-BE49-F238E27FC236}">
                    <a16:creationId xmlns:a16="http://schemas.microsoft.com/office/drawing/2014/main" id="{57D49A8B-C06C-49D2-A818-EFEBBA9E1C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54" y="743"/>
                <a:ext cx="811" cy="513"/>
              </a:xfrm>
              <a:custGeom>
                <a:avLst/>
                <a:gdLst>
                  <a:gd name="T0" fmla="*/ 284 w 806"/>
                  <a:gd name="T1" fmla="*/ 453 h 510"/>
                  <a:gd name="T2" fmla="*/ 276 w 806"/>
                  <a:gd name="T3" fmla="*/ 503 h 510"/>
                  <a:gd name="T4" fmla="*/ 268 w 806"/>
                  <a:gd name="T5" fmla="*/ 483 h 510"/>
                  <a:gd name="T6" fmla="*/ 248 w 806"/>
                  <a:gd name="T7" fmla="*/ 481 h 510"/>
                  <a:gd name="T8" fmla="*/ 229 w 806"/>
                  <a:gd name="T9" fmla="*/ 489 h 510"/>
                  <a:gd name="T10" fmla="*/ 217 w 806"/>
                  <a:gd name="T11" fmla="*/ 485 h 510"/>
                  <a:gd name="T12" fmla="*/ 193 w 806"/>
                  <a:gd name="T13" fmla="*/ 481 h 510"/>
                  <a:gd name="T14" fmla="*/ 181 w 806"/>
                  <a:gd name="T15" fmla="*/ 489 h 510"/>
                  <a:gd name="T16" fmla="*/ 161 w 806"/>
                  <a:gd name="T17" fmla="*/ 481 h 510"/>
                  <a:gd name="T18" fmla="*/ 151 w 806"/>
                  <a:gd name="T19" fmla="*/ 493 h 510"/>
                  <a:gd name="T20" fmla="*/ 135 w 806"/>
                  <a:gd name="T21" fmla="*/ 477 h 510"/>
                  <a:gd name="T22" fmla="*/ 139 w 806"/>
                  <a:gd name="T23" fmla="*/ 461 h 510"/>
                  <a:gd name="T24" fmla="*/ 129 w 806"/>
                  <a:gd name="T25" fmla="*/ 445 h 510"/>
                  <a:gd name="T26" fmla="*/ 113 w 806"/>
                  <a:gd name="T27" fmla="*/ 431 h 510"/>
                  <a:gd name="T28" fmla="*/ 119 w 806"/>
                  <a:gd name="T29" fmla="*/ 416 h 510"/>
                  <a:gd name="T30" fmla="*/ 107 w 806"/>
                  <a:gd name="T31" fmla="*/ 392 h 510"/>
                  <a:gd name="T32" fmla="*/ 109 w 806"/>
                  <a:gd name="T33" fmla="*/ 360 h 510"/>
                  <a:gd name="T34" fmla="*/ 101 w 806"/>
                  <a:gd name="T35" fmla="*/ 354 h 510"/>
                  <a:gd name="T36" fmla="*/ 97 w 806"/>
                  <a:gd name="T37" fmla="*/ 346 h 510"/>
                  <a:gd name="T38" fmla="*/ 72 w 806"/>
                  <a:gd name="T39" fmla="*/ 364 h 510"/>
                  <a:gd name="T40" fmla="*/ 54 w 806"/>
                  <a:gd name="T41" fmla="*/ 352 h 510"/>
                  <a:gd name="T42" fmla="*/ 56 w 806"/>
                  <a:gd name="T43" fmla="*/ 338 h 510"/>
                  <a:gd name="T44" fmla="*/ 68 w 806"/>
                  <a:gd name="T45" fmla="*/ 322 h 510"/>
                  <a:gd name="T46" fmla="*/ 66 w 806"/>
                  <a:gd name="T47" fmla="*/ 312 h 510"/>
                  <a:gd name="T48" fmla="*/ 74 w 806"/>
                  <a:gd name="T49" fmla="*/ 290 h 510"/>
                  <a:gd name="T50" fmla="*/ 89 w 806"/>
                  <a:gd name="T51" fmla="*/ 253 h 510"/>
                  <a:gd name="T52" fmla="*/ 68 w 806"/>
                  <a:gd name="T53" fmla="*/ 245 h 510"/>
                  <a:gd name="T54" fmla="*/ 58 w 806"/>
                  <a:gd name="T55" fmla="*/ 237 h 510"/>
                  <a:gd name="T56" fmla="*/ 50 w 806"/>
                  <a:gd name="T57" fmla="*/ 211 h 510"/>
                  <a:gd name="T58" fmla="*/ 20 w 806"/>
                  <a:gd name="T59" fmla="*/ 169 h 510"/>
                  <a:gd name="T60" fmla="*/ 8 w 806"/>
                  <a:gd name="T61" fmla="*/ 153 h 510"/>
                  <a:gd name="T62" fmla="*/ 16 w 806"/>
                  <a:gd name="T63" fmla="*/ 139 h 510"/>
                  <a:gd name="T64" fmla="*/ 0 w 806"/>
                  <a:gd name="T65" fmla="*/ 95 h 510"/>
                  <a:gd name="T66" fmla="*/ 93 w 806"/>
                  <a:gd name="T67" fmla="*/ 12 h 510"/>
                  <a:gd name="T68" fmla="*/ 493 w 806"/>
                  <a:gd name="T69" fmla="*/ 80 h 510"/>
                  <a:gd name="T70" fmla="*/ 787 w 806"/>
                  <a:gd name="T71" fmla="*/ 416 h 51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806" h="510">
                    <a:moveTo>
                      <a:pt x="772" y="510"/>
                    </a:moveTo>
                    <a:lnTo>
                      <a:pt x="282" y="450"/>
                    </a:lnTo>
                    <a:lnTo>
                      <a:pt x="274" y="500"/>
                    </a:lnTo>
                    <a:lnTo>
                      <a:pt x="268" y="492"/>
                    </a:lnTo>
                    <a:lnTo>
                      <a:pt x="266" y="480"/>
                    </a:lnTo>
                    <a:lnTo>
                      <a:pt x="256" y="472"/>
                    </a:lnTo>
                    <a:lnTo>
                      <a:pt x="246" y="478"/>
                    </a:lnTo>
                    <a:lnTo>
                      <a:pt x="248" y="486"/>
                    </a:lnTo>
                    <a:lnTo>
                      <a:pt x="228" y="486"/>
                    </a:lnTo>
                    <a:lnTo>
                      <a:pt x="224" y="488"/>
                    </a:lnTo>
                    <a:lnTo>
                      <a:pt x="216" y="482"/>
                    </a:lnTo>
                    <a:lnTo>
                      <a:pt x="196" y="482"/>
                    </a:lnTo>
                    <a:lnTo>
                      <a:pt x="192" y="478"/>
                    </a:lnTo>
                    <a:lnTo>
                      <a:pt x="188" y="478"/>
                    </a:lnTo>
                    <a:lnTo>
                      <a:pt x="180" y="486"/>
                    </a:lnTo>
                    <a:lnTo>
                      <a:pt x="174" y="484"/>
                    </a:lnTo>
                    <a:lnTo>
                      <a:pt x="160" y="478"/>
                    </a:lnTo>
                    <a:lnTo>
                      <a:pt x="154" y="480"/>
                    </a:lnTo>
                    <a:lnTo>
                      <a:pt x="150" y="490"/>
                    </a:lnTo>
                    <a:lnTo>
                      <a:pt x="140" y="484"/>
                    </a:lnTo>
                    <a:lnTo>
                      <a:pt x="134" y="474"/>
                    </a:lnTo>
                    <a:lnTo>
                      <a:pt x="134" y="470"/>
                    </a:lnTo>
                    <a:lnTo>
                      <a:pt x="138" y="458"/>
                    </a:lnTo>
                    <a:lnTo>
                      <a:pt x="136" y="450"/>
                    </a:lnTo>
                    <a:lnTo>
                      <a:pt x="128" y="442"/>
                    </a:lnTo>
                    <a:lnTo>
                      <a:pt x="120" y="442"/>
                    </a:lnTo>
                    <a:lnTo>
                      <a:pt x="112" y="428"/>
                    </a:lnTo>
                    <a:lnTo>
                      <a:pt x="118" y="420"/>
                    </a:lnTo>
                    <a:lnTo>
                      <a:pt x="118" y="414"/>
                    </a:lnTo>
                    <a:lnTo>
                      <a:pt x="110" y="402"/>
                    </a:lnTo>
                    <a:lnTo>
                      <a:pt x="106" y="390"/>
                    </a:lnTo>
                    <a:lnTo>
                      <a:pt x="106" y="370"/>
                    </a:lnTo>
                    <a:lnTo>
                      <a:pt x="108" y="358"/>
                    </a:lnTo>
                    <a:lnTo>
                      <a:pt x="104" y="354"/>
                    </a:lnTo>
                    <a:lnTo>
                      <a:pt x="100" y="352"/>
                    </a:lnTo>
                    <a:lnTo>
                      <a:pt x="98" y="344"/>
                    </a:lnTo>
                    <a:lnTo>
                      <a:pt x="96" y="344"/>
                    </a:lnTo>
                    <a:lnTo>
                      <a:pt x="92" y="344"/>
                    </a:lnTo>
                    <a:lnTo>
                      <a:pt x="72" y="362"/>
                    </a:lnTo>
                    <a:lnTo>
                      <a:pt x="68" y="362"/>
                    </a:lnTo>
                    <a:lnTo>
                      <a:pt x="54" y="350"/>
                    </a:lnTo>
                    <a:lnTo>
                      <a:pt x="58" y="342"/>
                    </a:lnTo>
                    <a:lnTo>
                      <a:pt x="56" y="336"/>
                    </a:lnTo>
                    <a:lnTo>
                      <a:pt x="56" y="328"/>
                    </a:lnTo>
                    <a:lnTo>
                      <a:pt x="68" y="320"/>
                    </a:lnTo>
                    <a:lnTo>
                      <a:pt x="68" y="310"/>
                    </a:lnTo>
                    <a:lnTo>
                      <a:pt x="66" y="310"/>
                    </a:lnTo>
                    <a:lnTo>
                      <a:pt x="68" y="294"/>
                    </a:lnTo>
                    <a:lnTo>
                      <a:pt x="74" y="288"/>
                    </a:lnTo>
                    <a:lnTo>
                      <a:pt x="72" y="284"/>
                    </a:lnTo>
                    <a:lnTo>
                      <a:pt x="88" y="252"/>
                    </a:lnTo>
                    <a:lnTo>
                      <a:pt x="84" y="246"/>
                    </a:lnTo>
                    <a:lnTo>
                      <a:pt x="68" y="244"/>
                    </a:lnTo>
                    <a:lnTo>
                      <a:pt x="68" y="236"/>
                    </a:lnTo>
                    <a:lnTo>
                      <a:pt x="58" y="236"/>
                    </a:lnTo>
                    <a:lnTo>
                      <a:pt x="52" y="222"/>
                    </a:lnTo>
                    <a:lnTo>
                      <a:pt x="50" y="210"/>
                    </a:lnTo>
                    <a:lnTo>
                      <a:pt x="38" y="184"/>
                    </a:lnTo>
                    <a:lnTo>
                      <a:pt x="20" y="168"/>
                    </a:lnTo>
                    <a:lnTo>
                      <a:pt x="12" y="156"/>
                    </a:lnTo>
                    <a:lnTo>
                      <a:pt x="8" y="152"/>
                    </a:lnTo>
                    <a:lnTo>
                      <a:pt x="12" y="146"/>
                    </a:lnTo>
                    <a:lnTo>
                      <a:pt x="16" y="138"/>
                    </a:lnTo>
                    <a:lnTo>
                      <a:pt x="12" y="120"/>
                    </a:lnTo>
                    <a:lnTo>
                      <a:pt x="0" y="94"/>
                    </a:lnTo>
                    <a:lnTo>
                      <a:pt x="18" y="0"/>
                    </a:lnTo>
                    <a:lnTo>
                      <a:pt x="92" y="12"/>
                    </a:lnTo>
                    <a:lnTo>
                      <a:pt x="288" y="46"/>
                    </a:lnTo>
                    <a:lnTo>
                      <a:pt x="490" y="80"/>
                    </a:lnTo>
                    <a:lnTo>
                      <a:pt x="806" y="112"/>
                    </a:lnTo>
                    <a:lnTo>
                      <a:pt x="782" y="414"/>
                    </a:lnTo>
                    <a:lnTo>
                      <a:pt x="772" y="51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0" name="Freeform 37">
                <a:extLst>
                  <a:ext uri="{FF2B5EF4-FFF2-40B4-BE49-F238E27FC236}">
                    <a16:creationId xmlns:a16="http://schemas.microsoft.com/office/drawing/2014/main" id="{20A3173B-7BB5-4681-8CA6-0C03B57C98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81" y="1195"/>
                <a:ext cx="548" cy="457"/>
              </a:xfrm>
              <a:custGeom>
                <a:avLst/>
                <a:gdLst>
                  <a:gd name="T0" fmla="*/ 516 w 548"/>
                  <a:gd name="T1" fmla="*/ 457 h 456"/>
                  <a:gd name="T2" fmla="*/ 532 w 548"/>
                  <a:gd name="T3" fmla="*/ 257 h 456"/>
                  <a:gd name="T4" fmla="*/ 548 w 548"/>
                  <a:gd name="T5" fmla="*/ 60 h 456"/>
                  <a:gd name="T6" fmla="*/ 58 w 548"/>
                  <a:gd name="T7" fmla="*/ 0 h 456"/>
                  <a:gd name="T8" fmla="*/ 50 w 548"/>
                  <a:gd name="T9" fmla="*/ 50 h 456"/>
                  <a:gd name="T10" fmla="*/ 16 w 548"/>
                  <a:gd name="T11" fmla="*/ 297 h 456"/>
                  <a:gd name="T12" fmla="*/ 14 w 548"/>
                  <a:gd name="T13" fmla="*/ 297 h 456"/>
                  <a:gd name="T14" fmla="*/ 0 w 548"/>
                  <a:gd name="T15" fmla="*/ 393 h 456"/>
                  <a:gd name="T16" fmla="*/ 146 w 548"/>
                  <a:gd name="T17" fmla="*/ 415 h 456"/>
                  <a:gd name="T18" fmla="*/ 516 w 548"/>
                  <a:gd name="T19" fmla="*/ 457 h 456"/>
                  <a:gd name="T20" fmla="*/ 516 w 548"/>
                  <a:gd name="T21" fmla="*/ 457 h 45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48" h="456">
                    <a:moveTo>
                      <a:pt x="516" y="456"/>
                    </a:moveTo>
                    <a:lnTo>
                      <a:pt x="532" y="256"/>
                    </a:lnTo>
                    <a:lnTo>
                      <a:pt x="548" y="60"/>
                    </a:lnTo>
                    <a:lnTo>
                      <a:pt x="58" y="0"/>
                    </a:lnTo>
                    <a:lnTo>
                      <a:pt x="50" y="50"/>
                    </a:lnTo>
                    <a:lnTo>
                      <a:pt x="16" y="296"/>
                    </a:lnTo>
                    <a:lnTo>
                      <a:pt x="14" y="296"/>
                    </a:lnTo>
                    <a:lnTo>
                      <a:pt x="0" y="392"/>
                    </a:lnTo>
                    <a:lnTo>
                      <a:pt x="146" y="414"/>
                    </a:lnTo>
                    <a:lnTo>
                      <a:pt x="516" y="45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1" name="Freeform 38">
                <a:extLst>
                  <a:ext uri="{FF2B5EF4-FFF2-40B4-BE49-F238E27FC236}">
                    <a16:creationId xmlns:a16="http://schemas.microsoft.com/office/drawing/2014/main" id="{7A0AE15F-0896-4C11-B3CE-5E76B3B93E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1" y="857"/>
                <a:ext cx="518" cy="324"/>
              </a:xfrm>
              <a:custGeom>
                <a:avLst/>
                <a:gdLst>
                  <a:gd name="T0" fmla="*/ 0 w 516"/>
                  <a:gd name="T1" fmla="*/ 302 h 324"/>
                  <a:gd name="T2" fmla="*/ 24 w 516"/>
                  <a:gd name="T3" fmla="*/ 0 h 324"/>
                  <a:gd name="T4" fmla="*/ 253 w 516"/>
                  <a:gd name="T5" fmla="*/ 16 h 324"/>
                  <a:gd name="T6" fmla="*/ 478 w 516"/>
                  <a:gd name="T7" fmla="*/ 22 h 324"/>
                  <a:gd name="T8" fmla="*/ 478 w 516"/>
                  <a:gd name="T9" fmla="*/ 30 h 324"/>
                  <a:gd name="T10" fmla="*/ 486 w 516"/>
                  <a:gd name="T11" fmla="*/ 54 h 324"/>
                  <a:gd name="T12" fmla="*/ 482 w 516"/>
                  <a:gd name="T13" fmla="*/ 62 h 324"/>
                  <a:gd name="T14" fmla="*/ 480 w 516"/>
                  <a:gd name="T15" fmla="*/ 78 h 324"/>
                  <a:gd name="T16" fmla="*/ 482 w 516"/>
                  <a:gd name="T17" fmla="*/ 106 h 324"/>
                  <a:gd name="T18" fmla="*/ 488 w 516"/>
                  <a:gd name="T19" fmla="*/ 138 h 324"/>
                  <a:gd name="T20" fmla="*/ 496 w 516"/>
                  <a:gd name="T21" fmla="*/ 146 h 324"/>
                  <a:gd name="T22" fmla="*/ 502 w 516"/>
                  <a:gd name="T23" fmla="*/ 176 h 324"/>
                  <a:gd name="T24" fmla="*/ 504 w 516"/>
                  <a:gd name="T25" fmla="*/ 226 h 324"/>
                  <a:gd name="T26" fmla="*/ 506 w 516"/>
                  <a:gd name="T27" fmla="*/ 236 h 324"/>
                  <a:gd name="T28" fmla="*/ 506 w 516"/>
                  <a:gd name="T29" fmla="*/ 254 h 324"/>
                  <a:gd name="T30" fmla="*/ 508 w 516"/>
                  <a:gd name="T31" fmla="*/ 260 h 324"/>
                  <a:gd name="T32" fmla="*/ 518 w 516"/>
                  <a:gd name="T33" fmla="*/ 296 h 324"/>
                  <a:gd name="T34" fmla="*/ 518 w 516"/>
                  <a:gd name="T35" fmla="*/ 310 h 324"/>
                  <a:gd name="T36" fmla="*/ 518 w 516"/>
                  <a:gd name="T37" fmla="*/ 324 h 324"/>
                  <a:gd name="T38" fmla="*/ 0 w 516"/>
                  <a:gd name="T39" fmla="*/ 302 h 32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16" h="324">
                    <a:moveTo>
                      <a:pt x="0" y="302"/>
                    </a:moveTo>
                    <a:lnTo>
                      <a:pt x="24" y="0"/>
                    </a:lnTo>
                    <a:lnTo>
                      <a:pt x="252" y="16"/>
                    </a:lnTo>
                    <a:lnTo>
                      <a:pt x="476" y="22"/>
                    </a:lnTo>
                    <a:lnTo>
                      <a:pt x="476" y="30"/>
                    </a:lnTo>
                    <a:lnTo>
                      <a:pt x="484" y="54"/>
                    </a:lnTo>
                    <a:lnTo>
                      <a:pt x="480" y="62"/>
                    </a:lnTo>
                    <a:lnTo>
                      <a:pt x="478" y="78"/>
                    </a:lnTo>
                    <a:lnTo>
                      <a:pt x="480" y="106"/>
                    </a:lnTo>
                    <a:lnTo>
                      <a:pt x="486" y="138"/>
                    </a:lnTo>
                    <a:lnTo>
                      <a:pt x="494" y="146"/>
                    </a:lnTo>
                    <a:lnTo>
                      <a:pt x="500" y="176"/>
                    </a:lnTo>
                    <a:lnTo>
                      <a:pt x="502" y="226"/>
                    </a:lnTo>
                    <a:lnTo>
                      <a:pt x="504" y="236"/>
                    </a:lnTo>
                    <a:lnTo>
                      <a:pt x="504" y="254"/>
                    </a:lnTo>
                    <a:lnTo>
                      <a:pt x="506" y="260"/>
                    </a:lnTo>
                    <a:lnTo>
                      <a:pt x="516" y="296"/>
                    </a:lnTo>
                    <a:lnTo>
                      <a:pt x="516" y="310"/>
                    </a:lnTo>
                    <a:lnTo>
                      <a:pt x="516" y="324"/>
                    </a:lnTo>
                    <a:lnTo>
                      <a:pt x="0" y="30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2" name="Freeform 39">
                <a:extLst>
                  <a:ext uri="{FF2B5EF4-FFF2-40B4-BE49-F238E27FC236}">
                    <a16:creationId xmlns:a16="http://schemas.microsoft.com/office/drawing/2014/main" id="{9EF5BF00-A166-4DBF-AD90-AB350301EC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5" y="1160"/>
                <a:ext cx="554" cy="372"/>
              </a:xfrm>
              <a:custGeom>
                <a:avLst/>
                <a:gdLst>
                  <a:gd name="T0" fmla="*/ 0 w 552"/>
                  <a:gd name="T1" fmla="*/ 292 h 372"/>
                  <a:gd name="T2" fmla="*/ 16 w 552"/>
                  <a:gd name="T3" fmla="*/ 96 h 372"/>
                  <a:gd name="T4" fmla="*/ 26 w 552"/>
                  <a:gd name="T5" fmla="*/ 0 h 372"/>
                  <a:gd name="T6" fmla="*/ 544 w 552"/>
                  <a:gd name="T7" fmla="*/ 22 h 372"/>
                  <a:gd name="T8" fmla="*/ 544 w 552"/>
                  <a:gd name="T9" fmla="*/ 30 h 372"/>
                  <a:gd name="T10" fmla="*/ 540 w 552"/>
                  <a:gd name="T11" fmla="*/ 40 h 372"/>
                  <a:gd name="T12" fmla="*/ 526 w 552"/>
                  <a:gd name="T13" fmla="*/ 54 h 372"/>
                  <a:gd name="T14" fmla="*/ 528 w 552"/>
                  <a:gd name="T15" fmla="*/ 62 h 372"/>
                  <a:gd name="T16" fmla="*/ 554 w 552"/>
                  <a:gd name="T17" fmla="*/ 86 h 372"/>
                  <a:gd name="T18" fmla="*/ 554 w 552"/>
                  <a:gd name="T19" fmla="*/ 268 h 372"/>
                  <a:gd name="T20" fmla="*/ 548 w 552"/>
                  <a:gd name="T21" fmla="*/ 266 h 372"/>
                  <a:gd name="T22" fmla="*/ 542 w 552"/>
                  <a:gd name="T23" fmla="*/ 268 h 372"/>
                  <a:gd name="T24" fmla="*/ 546 w 552"/>
                  <a:gd name="T25" fmla="*/ 274 h 372"/>
                  <a:gd name="T26" fmla="*/ 548 w 552"/>
                  <a:gd name="T27" fmla="*/ 280 h 372"/>
                  <a:gd name="T28" fmla="*/ 544 w 552"/>
                  <a:gd name="T29" fmla="*/ 290 h 372"/>
                  <a:gd name="T30" fmla="*/ 550 w 552"/>
                  <a:gd name="T31" fmla="*/ 294 h 372"/>
                  <a:gd name="T32" fmla="*/ 554 w 552"/>
                  <a:gd name="T33" fmla="*/ 310 h 372"/>
                  <a:gd name="T34" fmla="*/ 548 w 552"/>
                  <a:gd name="T35" fmla="*/ 314 h 372"/>
                  <a:gd name="T36" fmla="*/ 548 w 552"/>
                  <a:gd name="T37" fmla="*/ 324 h 372"/>
                  <a:gd name="T38" fmla="*/ 542 w 552"/>
                  <a:gd name="T39" fmla="*/ 340 h 372"/>
                  <a:gd name="T40" fmla="*/ 548 w 552"/>
                  <a:gd name="T41" fmla="*/ 358 h 372"/>
                  <a:gd name="T42" fmla="*/ 552 w 552"/>
                  <a:gd name="T43" fmla="*/ 368 h 372"/>
                  <a:gd name="T44" fmla="*/ 550 w 552"/>
                  <a:gd name="T45" fmla="*/ 372 h 372"/>
                  <a:gd name="T46" fmla="*/ 536 w 552"/>
                  <a:gd name="T47" fmla="*/ 360 h 372"/>
                  <a:gd name="T48" fmla="*/ 504 w 552"/>
                  <a:gd name="T49" fmla="*/ 340 h 372"/>
                  <a:gd name="T50" fmla="*/ 496 w 552"/>
                  <a:gd name="T51" fmla="*/ 338 h 372"/>
                  <a:gd name="T52" fmla="*/ 482 w 552"/>
                  <a:gd name="T53" fmla="*/ 338 h 372"/>
                  <a:gd name="T54" fmla="*/ 472 w 552"/>
                  <a:gd name="T55" fmla="*/ 344 h 372"/>
                  <a:gd name="T56" fmla="*/ 462 w 552"/>
                  <a:gd name="T57" fmla="*/ 348 h 372"/>
                  <a:gd name="T58" fmla="*/ 450 w 552"/>
                  <a:gd name="T59" fmla="*/ 344 h 372"/>
                  <a:gd name="T60" fmla="*/ 446 w 552"/>
                  <a:gd name="T61" fmla="*/ 332 h 372"/>
                  <a:gd name="T62" fmla="*/ 438 w 552"/>
                  <a:gd name="T63" fmla="*/ 326 h 372"/>
                  <a:gd name="T64" fmla="*/ 428 w 552"/>
                  <a:gd name="T65" fmla="*/ 330 h 372"/>
                  <a:gd name="T66" fmla="*/ 413 w 552"/>
                  <a:gd name="T67" fmla="*/ 330 h 372"/>
                  <a:gd name="T68" fmla="*/ 403 w 552"/>
                  <a:gd name="T69" fmla="*/ 314 h 372"/>
                  <a:gd name="T70" fmla="*/ 0 w 552"/>
                  <a:gd name="T71" fmla="*/ 292 h 37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552" h="372">
                    <a:moveTo>
                      <a:pt x="0" y="292"/>
                    </a:moveTo>
                    <a:lnTo>
                      <a:pt x="16" y="96"/>
                    </a:lnTo>
                    <a:lnTo>
                      <a:pt x="26" y="0"/>
                    </a:lnTo>
                    <a:lnTo>
                      <a:pt x="542" y="22"/>
                    </a:lnTo>
                    <a:lnTo>
                      <a:pt x="542" y="30"/>
                    </a:lnTo>
                    <a:lnTo>
                      <a:pt x="538" y="40"/>
                    </a:lnTo>
                    <a:lnTo>
                      <a:pt x="524" y="54"/>
                    </a:lnTo>
                    <a:lnTo>
                      <a:pt x="526" y="62"/>
                    </a:lnTo>
                    <a:lnTo>
                      <a:pt x="552" y="86"/>
                    </a:lnTo>
                    <a:lnTo>
                      <a:pt x="552" y="268"/>
                    </a:lnTo>
                    <a:lnTo>
                      <a:pt x="546" y="266"/>
                    </a:lnTo>
                    <a:lnTo>
                      <a:pt x="540" y="268"/>
                    </a:lnTo>
                    <a:lnTo>
                      <a:pt x="544" y="274"/>
                    </a:lnTo>
                    <a:lnTo>
                      <a:pt x="546" y="280"/>
                    </a:lnTo>
                    <a:lnTo>
                      <a:pt x="542" y="290"/>
                    </a:lnTo>
                    <a:lnTo>
                      <a:pt x="548" y="294"/>
                    </a:lnTo>
                    <a:lnTo>
                      <a:pt x="552" y="310"/>
                    </a:lnTo>
                    <a:lnTo>
                      <a:pt x="546" y="314"/>
                    </a:lnTo>
                    <a:lnTo>
                      <a:pt x="546" y="324"/>
                    </a:lnTo>
                    <a:lnTo>
                      <a:pt x="540" y="340"/>
                    </a:lnTo>
                    <a:lnTo>
                      <a:pt x="546" y="358"/>
                    </a:lnTo>
                    <a:lnTo>
                      <a:pt x="550" y="368"/>
                    </a:lnTo>
                    <a:lnTo>
                      <a:pt x="548" y="372"/>
                    </a:lnTo>
                    <a:lnTo>
                      <a:pt x="534" y="360"/>
                    </a:lnTo>
                    <a:lnTo>
                      <a:pt x="502" y="340"/>
                    </a:lnTo>
                    <a:lnTo>
                      <a:pt x="494" y="338"/>
                    </a:lnTo>
                    <a:lnTo>
                      <a:pt x="480" y="338"/>
                    </a:lnTo>
                    <a:lnTo>
                      <a:pt x="470" y="344"/>
                    </a:lnTo>
                    <a:lnTo>
                      <a:pt x="460" y="348"/>
                    </a:lnTo>
                    <a:lnTo>
                      <a:pt x="448" y="344"/>
                    </a:lnTo>
                    <a:lnTo>
                      <a:pt x="444" y="332"/>
                    </a:lnTo>
                    <a:lnTo>
                      <a:pt x="436" y="326"/>
                    </a:lnTo>
                    <a:lnTo>
                      <a:pt x="426" y="330"/>
                    </a:lnTo>
                    <a:lnTo>
                      <a:pt x="412" y="330"/>
                    </a:lnTo>
                    <a:lnTo>
                      <a:pt x="402" y="314"/>
                    </a:lnTo>
                    <a:lnTo>
                      <a:pt x="0" y="29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3" name="Freeform 40">
                <a:extLst>
                  <a:ext uri="{FF2B5EF4-FFF2-40B4-BE49-F238E27FC236}">
                    <a16:creationId xmlns:a16="http://schemas.microsoft.com/office/drawing/2014/main" id="{C17F4BDC-F6BA-4BE6-8923-D3053C1F30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6" y="1070"/>
                <a:ext cx="419" cy="446"/>
              </a:xfrm>
              <a:custGeom>
                <a:avLst/>
                <a:gdLst>
                  <a:gd name="T0" fmla="*/ 175 w 416"/>
                  <a:gd name="T1" fmla="*/ 436 h 442"/>
                  <a:gd name="T2" fmla="*/ 145 w 416"/>
                  <a:gd name="T3" fmla="*/ 422 h 442"/>
                  <a:gd name="T4" fmla="*/ 135 w 416"/>
                  <a:gd name="T5" fmla="*/ 381 h 442"/>
                  <a:gd name="T6" fmla="*/ 141 w 416"/>
                  <a:gd name="T7" fmla="*/ 365 h 442"/>
                  <a:gd name="T8" fmla="*/ 127 w 416"/>
                  <a:gd name="T9" fmla="*/ 347 h 442"/>
                  <a:gd name="T10" fmla="*/ 125 w 416"/>
                  <a:gd name="T11" fmla="*/ 315 h 442"/>
                  <a:gd name="T12" fmla="*/ 101 w 416"/>
                  <a:gd name="T13" fmla="*/ 295 h 442"/>
                  <a:gd name="T14" fmla="*/ 73 w 416"/>
                  <a:gd name="T15" fmla="*/ 264 h 442"/>
                  <a:gd name="T16" fmla="*/ 46 w 416"/>
                  <a:gd name="T17" fmla="*/ 250 h 442"/>
                  <a:gd name="T18" fmla="*/ 42 w 416"/>
                  <a:gd name="T19" fmla="*/ 244 h 442"/>
                  <a:gd name="T20" fmla="*/ 22 w 416"/>
                  <a:gd name="T21" fmla="*/ 236 h 442"/>
                  <a:gd name="T22" fmla="*/ 10 w 416"/>
                  <a:gd name="T23" fmla="*/ 224 h 442"/>
                  <a:gd name="T24" fmla="*/ 14 w 416"/>
                  <a:gd name="T25" fmla="*/ 182 h 442"/>
                  <a:gd name="T26" fmla="*/ 18 w 416"/>
                  <a:gd name="T27" fmla="*/ 161 h 442"/>
                  <a:gd name="T28" fmla="*/ 0 w 416"/>
                  <a:gd name="T29" fmla="*/ 143 h 442"/>
                  <a:gd name="T30" fmla="*/ 8 w 416"/>
                  <a:gd name="T31" fmla="*/ 125 h 442"/>
                  <a:gd name="T32" fmla="*/ 28 w 416"/>
                  <a:gd name="T33" fmla="*/ 99 h 442"/>
                  <a:gd name="T34" fmla="*/ 40 w 416"/>
                  <a:gd name="T35" fmla="*/ 91 h 442"/>
                  <a:gd name="T36" fmla="*/ 44 w 416"/>
                  <a:gd name="T37" fmla="*/ 32 h 442"/>
                  <a:gd name="T38" fmla="*/ 56 w 416"/>
                  <a:gd name="T39" fmla="*/ 28 h 442"/>
                  <a:gd name="T40" fmla="*/ 79 w 416"/>
                  <a:gd name="T41" fmla="*/ 30 h 442"/>
                  <a:gd name="T42" fmla="*/ 131 w 416"/>
                  <a:gd name="T43" fmla="*/ 0 h 442"/>
                  <a:gd name="T44" fmla="*/ 141 w 416"/>
                  <a:gd name="T45" fmla="*/ 2 h 442"/>
                  <a:gd name="T46" fmla="*/ 137 w 416"/>
                  <a:gd name="T47" fmla="*/ 16 h 442"/>
                  <a:gd name="T48" fmla="*/ 133 w 416"/>
                  <a:gd name="T49" fmla="*/ 34 h 442"/>
                  <a:gd name="T50" fmla="*/ 153 w 416"/>
                  <a:gd name="T51" fmla="*/ 28 h 442"/>
                  <a:gd name="T52" fmla="*/ 169 w 416"/>
                  <a:gd name="T53" fmla="*/ 34 h 442"/>
                  <a:gd name="T54" fmla="*/ 183 w 416"/>
                  <a:gd name="T55" fmla="*/ 42 h 442"/>
                  <a:gd name="T56" fmla="*/ 191 w 416"/>
                  <a:gd name="T57" fmla="*/ 57 h 442"/>
                  <a:gd name="T58" fmla="*/ 262 w 416"/>
                  <a:gd name="T59" fmla="*/ 73 h 442"/>
                  <a:gd name="T60" fmla="*/ 284 w 416"/>
                  <a:gd name="T61" fmla="*/ 85 h 442"/>
                  <a:gd name="T62" fmla="*/ 296 w 416"/>
                  <a:gd name="T63" fmla="*/ 89 h 442"/>
                  <a:gd name="T64" fmla="*/ 304 w 416"/>
                  <a:gd name="T65" fmla="*/ 85 h 442"/>
                  <a:gd name="T66" fmla="*/ 330 w 416"/>
                  <a:gd name="T67" fmla="*/ 91 h 442"/>
                  <a:gd name="T68" fmla="*/ 332 w 416"/>
                  <a:gd name="T69" fmla="*/ 97 h 442"/>
                  <a:gd name="T70" fmla="*/ 342 w 416"/>
                  <a:gd name="T71" fmla="*/ 103 h 442"/>
                  <a:gd name="T72" fmla="*/ 359 w 416"/>
                  <a:gd name="T73" fmla="*/ 119 h 442"/>
                  <a:gd name="T74" fmla="*/ 357 w 416"/>
                  <a:gd name="T75" fmla="*/ 145 h 442"/>
                  <a:gd name="T76" fmla="*/ 371 w 416"/>
                  <a:gd name="T77" fmla="*/ 143 h 442"/>
                  <a:gd name="T78" fmla="*/ 365 w 416"/>
                  <a:gd name="T79" fmla="*/ 153 h 442"/>
                  <a:gd name="T80" fmla="*/ 379 w 416"/>
                  <a:gd name="T81" fmla="*/ 172 h 442"/>
                  <a:gd name="T82" fmla="*/ 363 w 416"/>
                  <a:gd name="T83" fmla="*/ 190 h 442"/>
                  <a:gd name="T84" fmla="*/ 351 w 416"/>
                  <a:gd name="T85" fmla="*/ 220 h 442"/>
                  <a:gd name="T86" fmla="*/ 353 w 416"/>
                  <a:gd name="T87" fmla="*/ 230 h 442"/>
                  <a:gd name="T88" fmla="*/ 375 w 416"/>
                  <a:gd name="T89" fmla="*/ 202 h 442"/>
                  <a:gd name="T90" fmla="*/ 393 w 416"/>
                  <a:gd name="T91" fmla="*/ 190 h 442"/>
                  <a:gd name="T92" fmla="*/ 401 w 416"/>
                  <a:gd name="T93" fmla="*/ 178 h 442"/>
                  <a:gd name="T94" fmla="*/ 403 w 416"/>
                  <a:gd name="T95" fmla="*/ 163 h 442"/>
                  <a:gd name="T96" fmla="*/ 407 w 416"/>
                  <a:gd name="T97" fmla="*/ 155 h 442"/>
                  <a:gd name="T98" fmla="*/ 413 w 416"/>
                  <a:gd name="T99" fmla="*/ 147 h 442"/>
                  <a:gd name="T100" fmla="*/ 419 w 416"/>
                  <a:gd name="T101" fmla="*/ 151 h 442"/>
                  <a:gd name="T102" fmla="*/ 407 w 416"/>
                  <a:gd name="T103" fmla="*/ 190 h 442"/>
                  <a:gd name="T104" fmla="*/ 399 w 416"/>
                  <a:gd name="T105" fmla="*/ 204 h 442"/>
                  <a:gd name="T106" fmla="*/ 391 w 416"/>
                  <a:gd name="T107" fmla="*/ 230 h 442"/>
                  <a:gd name="T108" fmla="*/ 389 w 416"/>
                  <a:gd name="T109" fmla="*/ 260 h 442"/>
                  <a:gd name="T110" fmla="*/ 379 w 416"/>
                  <a:gd name="T111" fmla="*/ 276 h 442"/>
                  <a:gd name="T112" fmla="*/ 383 w 416"/>
                  <a:gd name="T113" fmla="*/ 315 h 442"/>
                  <a:gd name="T114" fmla="*/ 371 w 416"/>
                  <a:gd name="T115" fmla="*/ 345 h 442"/>
                  <a:gd name="T116" fmla="*/ 385 w 416"/>
                  <a:gd name="T117" fmla="*/ 408 h 442"/>
                  <a:gd name="T118" fmla="*/ 385 w 416"/>
                  <a:gd name="T119" fmla="*/ 416 h 442"/>
                  <a:gd name="T120" fmla="*/ 385 w 416"/>
                  <a:gd name="T121" fmla="*/ 432 h 4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416" h="442">
                    <a:moveTo>
                      <a:pt x="176" y="442"/>
                    </a:moveTo>
                    <a:lnTo>
                      <a:pt x="174" y="432"/>
                    </a:lnTo>
                    <a:lnTo>
                      <a:pt x="166" y="426"/>
                    </a:lnTo>
                    <a:lnTo>
                      <a:pt x="144" y="418"/>
                    </a:lnTo>
                    <a:lnTo>
                      <a:pt x="138" y="390"/>
                    </a:lnTo>
                    <a:lnTo>
                      <a:pt x="134" y="378"/>
                    </a:lnTo>
                    <a:lnTo>
                      <a:pt x="138" y="370"/>
                    </a:lnTo>
                    <a:lnTo>
                      <a:pt x="140" y="362"/>
                    </a:lnTo>
                    <a:lnTo>
                      <a:pt x="132" y="356"/>
                    </a:lnTo>
                    <a:lnTo>
                      <a:pt x="126" y="344"/>
                    </a:lnTo>
                    <a:lnTo>
                      <a:pt x="124" y="324"/>
                    </a:lnTo>
                    <a:lnTo>
                      <a:pt x="124" y="312"/>
                    </a:lnTo>
                    <a:lnTo>
                      <a:pt x="122" y="306"/>
                    </a:lnTo>
                    <a:lnTo>
                      <a:pt x="100" y="292"/>
                    </a:lnTo>
                    <a:lnTo>
                      <a:pt x="80" y="276"/>
                    </a:lnTo>
                    <a:lnTo>
                      <a:pt x="72" y="262"/>
                    </a:lnTo>
                    <a:lnTo>
                      <a:pt x="52" y="252"/>
                    </a:lnTo>
                    <a:lnTo>
                      <a:pt x="46" y="248"/>
                    </a:lnTo>
                    <a:lnTo>
                      <a:pt x="46" y="244"/>
                    </a:lnTo>
                    <a:lnTo>
                      <a:pt x="42" y="242"/>
                    </a:lnTo>
                    <a:lnTo>
                      <a:pt x="24" y="238"/>
                    </a:lnTo>
                    <a:lnTo>
                      <a:pt x="22" y="234"/>
                    </a:lnTo>
                    <a:lnTo>
                      <a:pt x="14" y="228"/>
                    </a:lnTo>
                    <a:lnTo>
                      <a:pt x="10" y="222"/>
                    </a:lnTo>
                    <a:lnTo>
                      <a:pt x="10" y="198"/>
                    </a:lnTo>
                    <a:lnTo>
                      <a:pt x="14" y="180"/>
                    </a:lnTo>
                    <a:lnTo>
                      <a:pt x="12" y="170"/>
                    </a:lnTo>
                    <a:lnTo>
                      <a:pt x="18" y="160"/>
                    </a:lnTo>
                    <a:lnTo>
                      <a:pt x="10" y="146"/>
                    </a:lnTo>
                    <a:lnTo>
                      <a:pt x="0" y="142"/>
                    </a:lnTo>
                    <a:lnTo>
                      <a:pt x="6" y="126"/>
                    </a:lnTo>
                    <a:lnTo>
                      <a:pt x="8" y="124"/>
                    </a:lnTo>
                    <a:lnTo>
                      <a:pt x="8" y="114"/>
                    </a:lnTo>
                    <a:lnTo>
                      <a:pt x="28" y="98"/>
                    </a:lnTo>
                    <a:lnTo>
                      <a:pt x="36" y="96"/>
                    </a:lnTo>
                    <a:lnTo>
                      <a:pt x="40" y="90"/>
                    </a:lnTo>
                    <a:lnTo>
                      <a:pt x="38" y="36"/>
                    </a:lnTo>
                    <a:lnTo>
                      <a:pt x="44" y="32"/>
                    </a:lnTo>
                    <a:lnTo>
                      <a:pt x="48" y="24"/>
                    </a:lnTo>
                    <a:lnTo>
                      <a:pt x="56" y="28"/>
                    </a:lnTo>
                    <a:lnTo>
                      <a:pt x="66" y="30"/>
                    </a:lnTo>
                    <a:lnTo>
                      <a:pt x="78" y="30"/>
                    </a:lnTo>
                    <a:lnTo>
                      <a:pt x="96" y="18"/>
                    </a:lnTo>
                    <a:lnTo>
                      <a:pt x="130" y="0"/>
                    </a:lnTo>
                    <a:lnTo>
                      <a:pt x="138" y="0"/>
                    </a:lnTo>
                    <a:lnTo>
                      <a:pt x="140" y="2"/>
                    </a:lnTo>
                    <a:lnTo>
                      <a:pt x="140" y="10"/>
                    </a:lnTo>
                    <a:lnTo>
                      <a:pt x="136" y="16"/>
                    </a:lnTo>
                    <a:lnTo>
                      <a:pt x="136" y="20"/>
                    </a:lnTo>
                    <a:lnTo>
                      <a:pt x="132" y="34"/>
                    </a:lnTo>
                    <a:lnTo>
                      <a:pt x="146" y="28"/>
                    </a:lnTo>
                    <a:lnTo>
                      <a:pt x="152" y="28"/>
                    </a:lnTo>
                    <a:lnTo>
                      <a:pt x="160" y="36"/>
                    </a:lnTo>
                    <a:lnTo>
                      <a:pt x="168" y="34"/>
                    </a:lnTo>
                    <a:lnTo>
                      <a:pt x="172" y="40"/>
                    </a:lnTo>
                    <a:lnTo>
                      <a:pt x="182" y="42"/>
                    </a:lnTo>
                    <a:lnTo>
                      <a:pt x="188" y="46"/>
                    </a:lnTo>
                    <a:lnTo>
                      <a:pt x="190" y="56"/>
                    </a:lnTo>
                    <a:lnTo>
                      <a:pt x="196" y="60"/>
                    </a:lnTo>
                    <a:lnTo>
                      <a:pt x="260" y="72"/>
                    </a:lnTo>
                    <a:lnTo>
                      <a:pt x="268" y="72"/>
                    </a:lnTo>
                    <a:lnTo>
                      <a:pt x="282" y="84"/>
                    </a:lnTo>
                    <a:lnTo>
                      <a:pt x="292" y="84"/>
                    </a:lnTo>
                    <a:lnTo>
                      <a:pt x="294" y="88"/>
                    </a:lnTo>
                    <a:lnTo>
                      <a:pt x="298" y="84"/>
                    </a:lnTo>
                    <a:lnTo>
                      <a:pt x="302" y="84"/>
                    </a:lnTo>
                    <a:lnTo>
                      <a:pt x="318" y="86"/>
                    </a:lnTo>
                    <a:lnTo>
                      <a:pt x="328" y="90"/>
                    </a:lnTo>
                    <a:lnTo>
                      <a:pt x="334" y="94"/>
                    </a:lnTo>
                    <a:lnTo>
                      <a:pt x="330" y="96"/>
                    </a:lnTo>
                    <a:lnTo>
                      <a:pt x="330" y="100"/>
                    </a:lnTo>
                    <a:lnTo>
                      <a:pt x="340" y="102"/>
                    </a:lnTo>
                    <a:lnTo>
                      <a:pt x="354" y="110"/>
                    </a:lnTo>
                    <a:lnTo>
                      <a:pt x="356" y="118"/>
                    </a:lnTo>
                    <a:lnTo>
                      <a:pt x="352" y="142"/>
                    </a:lnTo>
                    <a:lnTo>
                      <a:pt x="354" y="144"/>
                    </a:lnTo>
                    <a:lnTo>
                      <a:pt x="366" y="142"/>
                    </a:lnTo>
                    <a:lnTo>
                      <a:pt x="368" y="142"/>
                    </a:lnTo>
                    <a:lnTo>
                      <a:pt x="366" y="148"/>
                    </a:lnTo>
                    <a:lnTo>
                      <a:pt x="362" y="152"/>
                    </a:lnTo>
                    <a:lnTo>
                      <a:pt x="366" y="164"/>
                    </a:lnTo>
                    <a:lnTo>
                      <a:pt x="376" y="170"/>
                    </a:lnTo>
                    <a:lnTo>
                      <a:pt x="374" y="172"/>
                    </a:lnTo>
                    <a:lnTo>
                      <a:pt x="360" y="188"/>
                    </a:lnTo>
                    <a:lnTo>
                      <a:pt x="352" y="206"/>
                    </a:lnTo>
                    <a:lnTo>
                      <a:pt x="348" y="218"/>
                    </a:lnTo>
                    <a:lnTo>
                      <a:pt x="346" y="224"/>
                    </a:lnTo>
                    <a:lnTo>
                      <a:pt x="350" y="228"/>
                    </a:lnTo>
                    <a:lnTo>
                      <a:pt x="360" y="222"/>
                    </a:lnTo>
                    <a:lnTo>
                      <a:pt x="372" y="200"/>
                    </a:lnTo>
                    <a:lnTo>
                      <a:pt x="384" y="190"/>
                    </a:lnTo>
                    <a:lnTo>
                      <a:pt x="390" y="188"/>
                    </a:lnTo>
                    <a:lnTo>
                      <a:pt x="392" y="182"/>
                    </a:lnTo>
                    <a:lnTo>
                      <a:pt x="398" y="176"/>
                    </a:lnTo>
                    <a:lnTo>
                      <a:pt x="400" y="170"/>
                    </a:lnTo>
                    <a:lnTo>
                      <a:pt x="400" y="162"/>
                    </a:lnTo>
                    <a:lnTo>
                      <a:pt x="400" y="158"/>
                    </a:lnTo>
                    <a:lnTo>
                      <a:pt x="404" y="154"/>
                    </a:lnTo>
                    <a:lnTo>
                      <a:pt x="406" y="148"/>
                    </a:lnTo>
                    <a:lnTo>
                      <a:pt x="410" y="146"/>
                    </a:lnTo>
                    <a:lnTo>
                      <a:pt x="414" y="146"/>
                    </a:lnTo>
                    <a:lnTo>
                      <a:pt x="416" y="150"/>
                    </a:lnTo>
                    <a:lnTo>
                      <a:pt x="414" y="162"/>
                    </a:lnTo>
                    <a:lnTo>
                      <a:pt x="404" y="188"/>
                    </a:lnTo>
                    <a:lnTo>
                      <a:pt x="400" y="194"/>
                    </a:lnTo>
                    <a:lnTo>
                      <a:pt x="396" y="202"/>
                    </a:lnTo>
                    <a:lnTo>
                      <a:pt x="396" y="208"/>
                    </a:lnTo>
                    <a:lnTo>
                      <a:pt x="388" y="228"/>
                    </a:lnTo>
                    <a:lnTo>
                      <a:pt x="388" y="246"/>
                    </a:lnTo>
                    <a:lnTo>
                      <a:pt x="386" y="258"/>
                    </a:lnTo>
                    <a:lnTo>
                      <a:pt x="378" y="268"/>
                    </a:lnTo>
                    <a:lnTo>
                      <a:pt x="376" y="274"/>
                    </a:lnTo>
                    <a:lnTo>
                      <a:pt x="378" y="288"/>
                    </a:lnTo>
                    <a:lnTo>
                      <a:pt x="380" y="312"/>
                    </a:lnTo>
                    <a:lnTo>
                      <a:pt x="376" y="316"/>
                    </a:lnTo>
                    <a:lnTo>
                      <a:pt x="368" y="342"/>
                    </a:lnTo>
                    <a:lnTo>
                      <a:pt x="372" y="378"/>
                    </a:lnTo>
                    <a:lnTo>
                      <a:pt x="382" y="404"/>
                    </a:lnTo>
                    <a:lnTo>
                      <a:pt x="380" y="408"/>
                    </a:lnTo>
                    <a:lnTo>
                      <a:pt x="382" y="412"/>
                    </a:lnTo>
                    <a:lnTo>
                      <a:pt x="380" y="418"/>
                    </a:lnTo>
                    <a:lnTo>
                      <a:pt x="382" y="428"/>
                    </a:lnTo>
                    <a:lnTo>
                      <a:pt x="176" y="44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4" name="Freeform 41">
                <a:extLst>
                  <a:ext uri="{FF2B5EF4-FFF2-40B4-BE49-F238E27FC236}">
                    <a16:creationId xmlns:a16="http://schemas.microsoft.com/office/drawing/2014/main" id="{882C2E9A-8523-4396-8E8B-3644DC61833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30" y="1946"/>
                <a:ext cx="543" cy="626"/>
              </a:xfrm>
              <a:custGeom>
                <a:avLst/>
                <a:gdLst>
                  <a:gd name="T0" fmla="*/ 462 w 538"/>
                  <a:gd name="T1" fmla="*/ 626 h 622"/>
                  <a:gd name="T2" fmla="*/ 543 w 538"/>
                  <a:gd name="T3" fmla="*/ 62 h 622"/>
                  <a:gd name="T4" fmla="*/ 147 w 538"/>
                  <a:gd name="T5" fmla="*/ 0 h 622"/>
                  <a:gd name="T6" fmla="*/ 147 w 538"/>
                  <a:gd name="T7" fmla="*/ 0 h 622"/>
                  <a:gd name="T8" fmla="*/ 139 w 538"/>
                  <a:gd name="T9" fmla="*/ 52 h 622"/>
                  <a:gd name="T10" fmla="*/ 123 w 538"/>
                  <a:gd name="T11" fmla="*/ 95 h 622"/>
                  <a:gd name="T12" fmla="*/ 115 w 538"/>
                  <a:gd name="T13" fmla="*/ 95 h 622"/>
                  <a:gd name="T14" fmla="*/ 109 w 538"/>
                  <a:gd name="T15" fmla="*/ 89 h 622"/>
                  <a:gd name="T16" fmla="*/ 109 w 538"/>
                  <a:gd name="T17" fmla="*/ 85 h 622"/>
                  <a:gd name="T18" fmla="*/ 105 w 538"/>
                  <a:gd name="T19" fmla="*/ 79 h 622"/>
                  <a:gd name="T20" fmla="*/ 89 w 538"/>
                  <a:gd name="T21" fmla="*/ 74 h 622"/>
                  <a:gd name="T22" fmla="*/ 77 w 538"/>
                  <a:gd name="T23" fmla="*/ 76 h 622"/>
                  <a:gd name="T24" fmla="*/ 73 w 538"/>
                  <a:gd name="T25" fmla="*/ 83 h 622"/>
                  <a:gd name="T26" fmla="*/ 77 w 538"/>
                  <a:gd name="T27" fmla="*/ 101 h 622"/>
                  <a:gd name="T28" fmla="*/ 71 w 538"/>
                  <a:gd name="T29" fmla="*/ 147 h 622"/>
                  <a:gd name="T30" fmla="*/ 75 w 538"/>
                  <a:gd name="T31" fmla="*/ 155 h 622"/>
                  <a:gd name="T32" fmla="*/ 69 w 538"/>
                  <a:gd name="T33" fmla="*/ 175 h 622"/>
                  <a:gd name="T34" fmla="*/ 65 w 538"/>
                  <a:gd name="T35" fmla="*/ 183 h 622"/>
                  <a:gd name="T36" fmla="*/ 65 w 538"/>
                  <a:gd name="T37" fmla="*/ 187 h 622"/>
                  <a:gd name="T38" fmla="*/ 65 w 538"/>
                  <a:gd name="T39" fmla="*/ 201 h 622"/>
                  <a:gd name="T40" fmla="*/ 67 w 538"/>
                  <a:gd name="T41" fmla="*/ 207 h 622"/>
                  <a:gd name="T42" fmla="*/ 65 w 538"/>
                  <a:gd name="T43" fmla="*/ 211 h 622"/>
                  <a:gd name="T44" fmla="*/ 71 w 538"/>
                  <a:gd name="T45" fmla="*/ 223 h 622"/>
                  <a:gd name="T46" fmla="*/ 71 w 538"/>
                  <a:gd name="T47" fmla="*/ 233 h 622"/>
                  <a:gd name="T48" fmla="*/ 75 w 538"/>
                  <a:gd name="T49" fmla="*/ 240 h 622"/>
                  <a:gd name="T50" fmla="*/ 77 w 538"/>
                  <a:gd name="T51" fmla="*/ 252 h 622"/>
                  <a:gd name="T52" fmla="*/ 83 w 538"/>
                  <a:gd name="T53" fmla="*/ 256 h 622"/>
                  <a:gd name="T54" fmla="*/ 87 w 538"/>
                  <a:gd name="T55" fmla="*/ 262 h 622"/>
                  <a:gd name="T56" fmla="*/ 89 w 538"/>
                  <a:gd name="T57" fmla="*/ 270 h 622"/>
                  <a:gd name="T58" fmla="*/ 87 w 538"/>
                  <a:gd name="T59" fmla="*/ 274 h 622"/>
                  <a:gd name="T60" fmla="*/ 85 w 538"/>
                  <a:gd name="T61" fmla="*/ 272 h 622"/>
                  <a:gd name="T62" fmla="*/ 75 w 538"/>
                  <a:gd name="T63" fmla="*/ 280 h 622"/>
                  <a:gd name="T64" fmla="*/ 63 w 538"/>
                  <a:gd name="T65" fmla="*/ 284 h 622"/>
                  <a:gd name="T66" fmla="*/ 52 w 538"/>
                  <a:gd name="T67" fmla="*/ 296 h 622"/>
                  <a:gd name="T68" fmla="*/ 46 w 538"/>
                  <a:gd name="T69" fmla="*/ 322 h 622"/>
                  <a:gd name="T70" fmla="*/ 30 w 538"/>
                  <a:gd name="T71" fmla="*/ 342 h 622"/>
                  <a:gd name="T72" fmla="*/ 22 w 538"/>
                  <a:gd name="T73" fmla="*/ 342 h 622"/>
                  <a:gd name="T74" fmla="*/ 22 w 538"/>
                  <a:gd name="T75" fmla="*/ 348 h 622"/>
                  <a:gd name="T76" fmla="*/ 24 w 538"/>
                  <a:gd name="T77" fmla="*/ 356 h 622"/>
                  <a:gd name="T78" fmla="*/ 24 w 538"/>
                  <a:gd name="T79" fmla="*/ 362 h 622"/>
                  <a:gd name="T80" fmla="*/ 20 w 538"/>
                  <a:gd name="T81" fmla="*/ 374 h 622"/>
                  <a:gd name="T82" fmla="*/ 22 w 538"/>
                  <a:gd name="T83" fmla="*/ 380 h 622"/>
                  <a:gd name="T84" fmla="*/ 34 w 538"/>
                  <a:gd name="T85" fmla="*/ 388 h 622"/>
                  <a:gd name="T86" fmla="*/ 36 w 538"/>
                  <a:gd name="T87" fmla="*/ 395 h 622"/>
                  <a:gd name="T88" fmla="*/ 32 w 538"/>
                  <a:gd name="T89" fmla="*/ 399 h 622"/>
                  <a:gd name="T90" fmla="*/ 30 w 538"/>
                  <a:gd name="T91" fmla="*/ 405 h 622"/>
                  <a:gd name="T92" fmla="*/ 24 w 538"/>
                  <a:gd name="T93" fmla="*/ 413 h 622"/>
                  <a:gd name="T94" fmla="*/ 20 w 538"/>
                  <a:gd name="T95" fmla="*/ 411 h 622"/>
                  <a:gd name="T96" fmla="*/ 6 w 538"/>
                  <a:gd name="T97" fmla="*/ 409 h 622"/>
                  <a:gd name="T98" fmla="*/ 0 w 538"/>
                  <a:gd name="T99" fmla="*/ 433 h 622"/>
                  <a:gd name="T100" fmla="*/ 293 w 538"/>
                  <a:gd name="T101" fmla="*/ 600 h 622"/>
                  <a:gd name="T102" fmla="*/ 462 w 538"/>
                  <a:gd name="T103" fmla="*/ 626 h 622"/>
                  <a:gd name="T104" fmla="*/ 462 w 538"/>
                  <a:gd name="T105" fmla="*/ 626 h 62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38" h="622">
                    <a:moveTo>
                      <a:pt x="458" y="622"/>
                    </a:moveTo>
                    <a:lnTo>
                      <a:pt x="538" y="62"/>
                    </a:lnTo>
                    <a:lnTo>
                      <a:pt x="146" y="0"/>
                    </a:lnTo>
                    <a:lnTo>
                      <a:pt x="138" y="52"/>
                    </a:lnTo>
                    <a:lnTo>
                      <a:pt x="122" y="94"/>
                    </a:lnTo>
                    <a:lnTo>
                      <a:pt x="114" y="94"/>
                    </a:lnTo>
                    <a:lnTo>
                      <a:pt x="108" y="88"/>
                    </a:lnTo>
                    <a:lnTo>
                      <a:pt x="108" y="84"/>
                    </a:lnTo>
                    <a:lnTo>
                      <a:pt x="104" y="78"/>
                    </a:lnTo>
                    <a:lnTo>
                      <a:pt x="88" y="74"/>
                    </a:lnTo>
                    <a:lnTo>
                      <a:pt x="76" y="76"/>
                    </a:lnTo>
                    <a:lnTo>
                      <a:pt x="72" y="82"/>
                    </a:lnTo>
                    <a:lnTo>
                      <a:pt x="76" y="100"/>
                    </a:lnTo>
                    <a:lnTo>
                      <a:pt x="70" y="146"/>
                    </a:lnTo>
                    <a:lnTo>
                      <a:pt x="74" y="154"/>
                    </a:lnTo>
                    <a:lnTo>
                      <a:pt x="68" y="174"/>
                    </a:lnTo>
                    <a:lnTo>
                      <a:pt x="64" y="182"/>
                    </a:lnTo>
                    <a:lnTo>
                      <a:pt x="64" y="186"/>
                    </a:lnTo>
                    <a:lnTo>
                      <a:pt x="64" y="200"/>
                    </a:lnTo>
                    <a:lnTo>
                      <a:pt x="66" y="206"/>
                    </a:lnTo>
                    <a:lnTo>
                      <a:pt x="64" y="210"/>
                    </a:lnTo>
                    <a:lnTo>
                      <a:pt x="70" y="222"/>
                    </a:lnTo>
                    <a:lnTo>
                      <a:pt x="70" y="232"/>
                    </a:lnTo>
                    <a:lnTo>
                      <a:pt x="74" y="238"/>
                    </a:lnTo>
                    <a:lnTo>
                      <a:pt x="76" y="250"/>
                    </a:lnTo>
                    <a:lnTo>
                      <a:pt x="82" y="254"/>
                    </a:lnTo>
                    <a:lnTo>
                      <a:pt x="86" y="260"/>
                    </a:lnTo>
                    <a:lnTo>
                      <a:pt x="88" y="268"/>
                    </a:lnTo>
                    <a:lnTo>
                      <a:pt x="86" y="272"/>
                    </a:lnTo>
                    <a:lnTo>
                      <a:pt x="84" y="270"/>
                    </a:lnTo>
                    <a:lnTo>
                      <a:pt x="74" y="278"/>
                    </a:lnTo>
                    <a:lnTo>
                      <a:pt x="62" y="282"/>
                    </a:lnTo>
                    <a:lnTo>
                      <a:pt x="52" y="294"/>
                    </a:lnTo>
                    <a:lnTo>
                      <a:pt x="46" y="320"/>
                    </a:lnTo>
                    <a:lnTo>
                      <a:pt x="30" y="340"/>
                    </a:lnTo>
                    <a:lnTo>
                      <a:pt x="22" y="340"/>
                    </a:lnTo>
                    <a:lnTo>
                      <a:pt x="22" y="346"/>
                    </a:lnTo>
                    <a:lnTo>
                      <a:pt x="24" y="354"/>
                    </a:lnTo>
                    <a:lnTo>
                      <a:pt x="24" y="360"/>
                    </a:lnTo>
                    <a:lnTo>
                      <a:pt x="20" y="372"/>
                    </a:lnTo>
                    <a:lnTo>
                      <a:pt x="22" y="378"/>
                    </a:lnTo>
                    <a:lnTo>
                      <a:pt x="34" y="386"/>
                    </a:lnTo>
                    <a:lnTo>
                      <a:pt x="36" y="392"/>
                    </a:lnTo>
                    <a:lnTo>
                      <a:pt x="32" y="396"/>
                    </a:lnTo>
                    <a:lnTo>
                      <a:pt x="30" y="402"/>
                    </a:lnTo>
                    <a:lnTo>
                      <a:pt x="24" y="410"/>
                    </a:lnTo>
                    <a:lnTo>
                      <a:pt x="20" y="408"/>
                    </a:lnTo>
                    <a:lnTo>
                      <a:pt x="6" y="406"/>
                    </a:lnTo>
                    <a:lnTo>
                      <a:pt x="0" y="430"/>
                    </a:lnTo>
                    <a:lnTo>
                      <a:pt x="290" y="596"/>
                    </a:lnTo>
                    <a:lnTo>
                      <a:pt x="458" y="62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" name="Freeform 42">
                <a:extLst>
                  <a:ext uri="{FF2B5EF4-FFF2-40B4-BE49-F238E27FC236}">
                    <a16:creationId xmlns:a16="http://schemas.microsoft.com/office/drawing/2014/main" id="{E1E3806E-BD29-45F7-9390-99B32EDB155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03" y="2112"/>
                <a:ext cx="1106" cy="1078"/>
              </a:xfrm>
              <a:custGeom>
                <a:avLst/>
                <a:gdLst>
                  <a:gd name="T0" fmla="*/ 1004 w 1102"/>
                  <a:gd name="T1" fmla="*/ 295 h 1074"/>
                  <a:gd name="T2" fmla="*/ 933 w 1102"/>
                  <a:gd name="T3" fmla="*/ 277 h 1074"/>
                  <a:gd name="T4" fmla="*/ 887 w 1102"/>
                  <a:gd name="T5" fmla="*/ 285 h 1074"/>
                  <a:gd name="T6" fmla="*/ 849 w 1102"/>
                  <a:gd name="T7" fmla="*/ 285 h 1074"/>
                  <a:gd name="T8" fmla="*/ 839 w 1102"/>
                  <a:gd name="T9" fmla="*/ 285 h 1074"/>
                  <a:gd name="T10" fmla="*/ 821 w 1102"/>
                  <a:gd name="T11" fmla="*/ 277 h 1074"/>
                  <a:gd name="T12" fmla="*/ 803 w 1102"/>
                  <a:gd name="T13" fmla="*/ 299 h 1074"/>
                  <a:gd name="T14" fmla="*/ 793 w 1102"/>
                  <a:gd name="T15" fmla="*/ 281 h 1074"/>
                  <a:gd name="T16" fmla="*/ 755 w 1102"/>
                  <a:gd name="T17" fmla="*/ 273 h 1074"/>
                  <a:gd name="T18" fmla="*/ 733 w 1102"/>
                  <a:gd name="T19" fmla="*/ 269 h 1074"/>
                  <a:gd name="T20" fmla="*/ 699 w 1102"/>
                  <a:gd name="T21" fmla="*/ 261 h 1074"/>
                  <a:gd name="T22" fmla="*/ 676 w 1102"/>
                  <a:gd name="T23" fmla="*/ 253 h 1074"/>
                  <a:gd name="T24" fmla="*/ 640 w 1102"/>
                  <a:gd name="T25" fmla="*/ 243 h 1074"/>
                  <a:gd name="T26" fmla="*/ 624 w 1102"/>
                  <a:gd name="T27" fmla="*/ 221 h 1074"/>
                  <a:gd name="T28" fmla="*/ 584 w 1102"/>
                  <a:gd name="T29" fmla="*/ 211 h 1074"/>
                  <a:gd name="T30" fmla="*/ 341 w 1102"/>
                  <a:gd name="T31" fmla="*/ 0 h 1074"/>
                  <a:gd name="T32" fmla="*/ 0 w 1102"/>
                  <a:gd name="T33" fmla="*/ 422 h 1074"/>
                  <a:gd name="T34" fmla="*/ 4 w 1102"/>
                  <a:gd name="T35" fmla="*/ 440 h 1074"/>
                  <a:gd name="T36" fmla="*/ 30 w 1102"/>
                  <a:gd name="T37" fmla="*/ 476 h 1074"/>
                  <a:gd name="T38" fmla="*/ 134 w 1102"/>
                  <a:gd name="T39" fmla="*/ 578 h 1074"/>
                  <a:gd name="T40" fmla="*/ 149 w 1102"/>
                  <a:gd name="T41" fmla="*/ 612 h 1074"/>
                  <a:gd name="T42" fmla="*/ 221 w 1102"/>
                  <a:gd name="T43" fmla="*/ 721 h 1074"/>
                  <a:gd name="T44" fmla="*/ 289 w 1102"/>
                  <a:gd name="T45" fmla="*/ 731 h 1074"/>
                  <a:gd name="T46" fmla="*/ 327 w 1102"/>
                  <a:gd name="T47" fmla="*/ 670 h 1074"/>
                  <a:gd name="T48" fmla="*/ 351 w 1102"/>
                  <a:gd name="T49" fmla="*/ 664 h 1074"/>
                  <a:gd name="T50" fmla="*/ 393 w 1102"/>
                  <a:gd name="T51" fmla="*/ 677 h 1074"/>
                  <a:gd name="T52" fmla="*/ 438 w 1102"/>
                  <a:gd name="T53" fmla="*/ 699 h 1074"/>
                  <a:gd name="T54" fmla="*/ 454 w 1102"/>
                  <a:gd name="T55" fmla="*/ 711 h 1074"/>
                  <a:gd name="T56" fmla="*/ 490 w 1102"/>
                  <a:gd name="T57" fmla="*/ 757 h 1074"/>
                  <a:gd name="T58" fmla="*/ 550 w 1102"/>
                  <a:gd name="T59" fmla="*/ 871 h 1074"/>
                  <a:gd name="T60" fmla="*/ 584 w 1102"/>
                  <a:gd name="T61" fmla="*/ 911 h 1074"/>
                  <a:gd name="T62" fmla="*/ 598 w 1102"/>
                  <a:gd name="T63" fmla="*/ 972 h 1074"/>
                  <a:gd name="T64" fmla="*/ 650 w 1102"/>
                  <a:gd name="T65" fmla="*/ 1032 h 1074"/>
                  <a:gd name="T66" fmla="*/ 741 w 1102"/>
                  <a:gd name="T67" fmla="*/ 1060 h 1074"/>
                  <a:gd name="T68" fmla="*/ 791 w 1102"/>
                  <a:gd name="T69" fmla="*/ 1068 h 1074"/>
                  <a:gd name="T70" fmla="*/ 785 w 1102"/>
                  <a:gd name="T71" fmla="*/ 1054 h 1074"/>
                  <a:gd name="T72" fmla="*/ 769 w 1102"/>
                  <a:gd name="T73" fmla="*/ 950 h 1074"/>
                  <a:gd name="T74" fmla="*/ 761 w 1102"/>
                  <a:gd name="T75" fmla="*/ 937 h 1074"/>
                  <a:gd name="T76" fmla="*/ 783 w 1102"/>
                  <a:gd name="T77" fmla="*/ 899 h 1074"/>
                  <a:gd name="T78" fmla="*/ 789 w 1102"/>
                  <a:gd name="T79" fmla="*/ 883 h 1074"/>
                  <a:gd name="T80" fmla="*/ 803 w 1102"/>
                  <a:gd name="T81" fmla="*/ 849 h 1074"/>
                  <a:gd name="T82" fmla="*/ 817 w 1102"/>
                  <a:gd name="T83" fmla="*/ 849 h 1074"/>
                  <a:gd name="T84" fmla="*/ 827 w 1102"/>
                  <a:gd name="T85" fmla="*/ 833 h 1074"/>
                  <a:gd name="T86" fmla="*/ 837 w 1102"/>
                  <a:gd name="T87" fmla="*/ 831 h 1074"/>
                  <a:gd name="T88" fmla="*/ 859 w 1102"/>
                  <a:gd name="T89" fmla="*/ 821 h 1074"/>
                  <a:gd name="T90" fmla="*/ 871 w 1102"/>
                  <a:gd name="T91" fmla="*/ 799 h 1074"/>
                  <a:gd name="T92" fmla="*/ 879 w 1102"/>
                  <a:gd name="T93" fmla="*/ 807 h 1074"/>
                  <a:gd name="T94" fmla="*/ 967 w 1102"/>
                  <a:gd name="T95" fmla="*/ 761 h 1074"/>
                  <a:gd name="T96" fmla="*/ 986 w 1102"/>
                  <a:gd name="T97" fmla="*/ 713 h 1074"/>
                  <a:gd name="T98" fmla="*/ 1004 w 1102"/>
                  <a:gd name="T99" fmla="*/ 707 h 1074"/>
                  <a:gd name="T100" fmla="*/ 1062 w 1102"/>
                  <a:gd name="T101" fmla="*/ 697 h 1074"/>
                  <a:gd name="T102" fmla="*/ 1078 w 1102"/>
                  <a:gd name="T103" fmla="*/ 689 h 1074"/>
                  <a:gd name="T104" fmla="*/ 1088 w 1102"/>
                  <a:gd name="T105" fmla="*/ 666 h 1074"/>
                  <a:gd name="T106" fmla="*/ 1092 w 1102"/>
                  <a:gd name="T107" fmla="*/ 624 h 1074"/>
                  <a:gd name="T108" fmla="*/ 1102 w 1102"/>
                  <a:gd name="T109" fmla="*/ 590 h 1074"/>
                  <a:gd name="T110" fmla="*/ 1096 w 1102"/>
                  <a:gd name="T111" fmla="*/ 536 h 1074"/>
                  <a:gd name="T112" fmla="*/ 1088 w 1102"/>
                  <a:gd name="T113" fmla="*/ 514 h 1074"/>
                  <a:gd name="T114" fmla="*/ 1076 w 1102"/>
                  <a:gd name="T115" fmla="*/ 482 h 1074"/>
                  <a:gd name="T116" fmla="*/ 1058 w 1102"/>
                  <a:gd name="T117" fmla="*/ 311 h 1074"/>
                  <a:gd name="T118" fmla="*/ 1020 w 1102"/>
                  <a:gd name="T119" fmla="*/ 303 h 107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102" h="1074">
                    <a:moveTo>
                      <a:pt x="1016" y="302"/>
                    </a:moveTo>
                    <a:lnTo>
                      <a:pt x="1012" y="300"/>
                    </a:lnTo>
                    <a:lnTo>
                      <a:pt x="1008" y="296"/>
                    </a:lnTo>
                    <a:lnTo>
                      <a:pt x="1000" y="294"/>
                    </a:lnTo>
                    <a:lnTo>
                      <a:pt x="962" y="274"/>
                    </a:lnTo>
                    <a:lnTo>
                      <a:pt x="960" y="276"/>
                    </a:lnTo>
                    <a:lnTo>
                      <a:pt x="948" y="280"/>
                    </a:lnTo>
                    <a:lnTo>
                      <a:pt x="930" y="276"/>
                    </a:lnTo>
                    <a:lnTo>
                      <a:pt x="922" y="276"/>
                    </a:lnTo>
                    <a:lnTo>
                      <a:pt x="916" y="278"/>
                    </a:lnTo>
                    <a:lnTo>
                      <a:pt x="902" y="284"/>
                    </a:lnTo>
                    <a:lnTo>
                      <a:pt x="884" y="284"/>
                    </a:lnTo>
                    <a:lnTo>
                      <a:pt x="880" y="288"/>
                    </a:lnTo>
                    <a:lnTo>
                      <a:pt x="866" y="298"/>
                    </a:lnTo>
                    <a:lnTo>
                      <a:pt x="854" y="290"/>
                    </a:lnTo>
                    <a:lnTo>
                      <a:pt x="846" y="284"/>
                    </a:lnTo>
                    <a:lnTo>
                      <a:pt x="846" y="282"/>
                    </a:lnTo>
                    <a:lnTo>
                      <a:pt x="838" y="280"/>
                    </a:lnTo>
                    <a:lnTo>
                      <a:pt x="836" y="284"/>
                    </a:lnTo>
                    <a:lnTo>
                      <a:pt x="832" y="286"/>
                    </a:lnTo>
                    <a:lnTo>
                      <a:pt x="822" y="282"/>
                    </a:lnTo>
                    <a:lnTo>
                      <a:pt x="820" y="276"/>
                    </a:lnTo>
                    <a:lnTo>
                      <a:pt x="818" y="276"/>
                    </a:lnTo>
                    <a:lnTo>
                      <a:pt x="810" y="280"/>
                    </a:lnTo>
                    <a:lnTo>
                      <a:pt x="804" y="288"/>
                    </a:lnTo>
                    <a:lnTo>
                      <a:pt x="806" y="294"/>
                    </a:lnTo>
                    <a:lnTo>
                      <a:pt x="800" y="298"/>
                    </a:lnTo>
                    <a:lnTo>
                      <a:pt x="796" y="290"/>
                    </a:lnTo>
                    <a:lnTo>
                      <a:pt x="798" y="284"/>
                    </a:lnTo>
                    <a:lnTo>
                      <a:pt x="796" y="280"/>
                    </a:lnTo>
                    <a:lnTo>
                      <a:pt x="790" y="280"/>
                    </a:lnTo>
                    <a:lnTo>
                      <a:pt x="782" y="284"/>
                    </a:lnTo>
                    <a:lnTo>
                      <a:pt x="778" y="284"/>
                    </a:lnTo>
                    <a:lnTo>
                      <a:pt x="758" y="270"/>
                    </a:lnTo>
                    <a:lnTo>
                      <a:pt x="752" y="272"/>
                    </a:lnTo>
                    <a:lnTo>
                      <a:pt x="750" y="284"/>
                    </a:lnTo>
                    <a:lnTo>
                      <a:pt x="734" y="280"/>
                    </a:lnTo>
                    <a:lnTo>
                      <a:pt x="734" y="270"/>
                    </a:lnTo>
                    <a:lnTo>
                      <a:pt x="730" y="268"/>
                    </a:lnTo>
                    <a:lnTo>
                      <a:pt x="722" y="260"/>
                    </a:lnTo>
                    <a:lnTo>
                      <a:pt x="722" y="256"/>
                    </a:lnTo>
                    <a:lnTo>
                      <a:pt x="702" y="254"/>
                    </a:lnTo>
                    <a:lnTo>
                      <a:pt x="696" y="260"/>
                    </a:lnTo>
                    <a:lnTo>
                      <a:pt x="686" y="256"/>
                    </a:lnTo>
                    <a:lnTo>
                      <a:pt x="682" y="248"/>
                    </a:lnTo>
                    <a:lnTo>
                      <a:pt x="676" y="250"/>
                    </a:lnTo>
                    <a:lnTo>
                      <a:pt x="674" y="252"/>
                    </a:lnTo>
                    <a:lnTo>
                      <a:pt x="670" y="252"/>
                    </a:lnTo>
                    <a:lnTo>
                      <a:pt x="662" y="248"/>
                    </a:lnTo>
                    <a:lnTo>
                      <a:pt x="640" y="244"/>
                    </a:lnTo>
                    <a:lnTo>
                      <a:pt x="638" y="242"/>
                    </a:lnTo>
                    <a:lnTo>
                      <a:pt x="634" y="234"/>
                    </a:lnTo>
                    <a:lnTo>
                      <a:pt x="634" y="230"/>
                    </a:lnTo>
                    <a:lnTo>
                      <a:pt x="630" y="226"/>
                    </a:lnTo>
                    <a:lnTo>
                      <a:pt x="622" y="220"/>
                    </a:lnTo>
                    <a:lnTo>
                      <a:pt x="616" y="226"/>
                    </a:lnTo>
                    <a:lnTo>
                      <a:pt x="600" y="228"/>
                    </a:lnTo>
                    <a:lnTo>
                      <a:pt x="594" y="226"/>
                    </a:lnTo>
                    <a:lnTo>
                      <a:pt x="582" y="210"/>
                    </a:lnTo>
                    <a:lnTo>
                      <a:pt x="578" y="206"/>
                    </a:lnTo>
                    <a:lnTo>
                      <a:pt x="570" y="206"/>
                    </a:lnTo>
                    <a:lnTo>
                      <a:pt x="576" y="14"/>
                    </a:lnTo>
                    <a:lnTo>
                      <a:pt x="340" y="0"/>
                    </a:lnTo>
                    <a:lnTo>
                      <a:pt x="334" y="0"/>
                    </a:lnTo>
                    <a:lnTo>
                      <a:pt x="298" y="448"/>
                    </a:lnTo>
                    <a:lnTo>
                      <a:pt x="2" y="418"/>
                    </a:lnTo>
                    <a:lnTo>
                      <a:pt x="0" y="420"/>
                    </a:lnTo>
                    <a:lnTo>
                      <a:pt x="2" y="424"/>
                    </a:lnTo>
                    <a:lnTo>
                      <a:pt x="4" y="426"/>
                    </a:lnTo>
                    <a:lnTo>
                      <a:pt x="0" y="430"/>
                    </a:lnTo>
                    <a:lnTo>
                      <a:pt x="4" y="438"/>
                    </a:lnTo>
                    <a:lnTo>
                      <a:pt x="4" y="440"/>
                    </a:lnTo>
                    <a:lnTo>
                      <a:pt x="20" y="450"/>
                    </a:lnTo>
                    <a:lnTo>
                      <a:pt x="24" y="462"/>
                    </a:lnTo>
                    <a:lnTo>
                      <a:pt x="30" y="474"/>
                    </a:lnTo>
                    <a:lnTo>
                      <a:pt x="46" y="484"/>
                    </a:lnTo>
                    <a:lnTo>
                      <a:pt x="92" y="540"/>
                    </a:lnTo>
                    <a:lnTo>
                      <a:pt x="130" y="572"/>
                    </a:lnTo>
                    <a:lnTo>
                      <a:pt x="134" y="576"/>
                    </a:lnTo>
                    <a:lnTo>
                      <a:pt x="136" y="584"/>
                    </a:lnTo>
                    <a:lnTo>
                      <a:pt x="136" y="592"/>
                    </a:lnTo>
                    <a:lnTo>
                      <a:pt x="138" y="596"/>
                    </a:lnTo>
                    <a:lnTo>
                      <a:pt x="148" y="610"/>
                    </a:lnTo>
                    <a:lnTo>
                      <a:pt x="146" y="642"/>
                    </a:lnTo>
                    <a:lnTo>
                      <a:pt x="148" y="652"/>
                    </a:lnTo>
                    <a:lnTo>
                      <a:pt x="162" y="674"/>
                    </a:lnTo>
                    <a:lnTo>
                      <a:pt x="220" y="718"/>
                    </a:lnTo>
                    <a:lnTo>
                      <a:pt x="260" y="742"/>
                    </a:lnTo>
                    <a:lnTo>
                      <a:pt x="272" y="744"/>
                    </a:lnTo>
                    <a:lnTo>
                      <a:pt x="278" y="740"/>
                    </a:lnTo>
                    <a:lnTo>
                      <a:pt x="288" y="728"/>
                    </a:lnTo>
                    <a:lnTo>
                      <a:pt x="294" y="724"/>
                    </a:lnTo>
                    <a:lnTo>
                      <a:pt x="312" y="684"/>
                    </a:lnTo>
                    <a:lnTo>
                      <a:pt x="320" y="672"/>
                    </a:lnTo>
                    <a:lnTo>
                      <a:pt x="326" y="668"/>
                    </a:lnTo>
                    <a:lnTo>
                      <a:pt x="340" y="672"/>
                    </a:lnTo>
                    <a:lnTo>
                      <a:pt x="342" y="672"/>
                    </a:lnTo>
                    <a:lnTo>
                      <a:pt x="346" y="666"/>
                    </a:lnTo>
                    <a:lnTo>
                      <a:pt x="350" y="662"/>
                    </a:lnTo>
                    <a:lnTo>
                      <a:pt x="356" y="664"/>
                    </a:lnTo>
                    <a:lnTo>
                      <a:pt x="364" y="668"/>
                    </a:lnTo>
                    <a:lnTo>
                      <a:pt x="386" y="672"/>
                    </a:lnTo>
                    <a:lnTo>
                      <a:pt x="392" y="674"/>
                    </a:lnTo>
                    <a:lnTo>
                      <a:pt x="408" y="680"/>
                    </a:lnTo>
                    <a:lnTo>
                      <a:pt x="414" y="676"/>
                    </a:lnTo>
                    <a:lnTo>
                      <a:pt x="432" y="686"/>
                    </a:lnTo>
                    <a:lnTo>
                      <a:pt x="436" y="696"/>
                    </a:lnTo>
                    <a:lnTo>
                      <a:pt x="438" y="698"/>
                    </a:lnTo>
                    <a:lnTo>
                      <a:pt x="440" y="702"/>
                    </a:lnTo>
                    <a:lnTo>
                      <a:pt x="444" y="702"/>
                    </a:lnTo>
                    <a:lnTo>
                      <a:pt x="452" y="708"/>
                    </a:lnTo>
                    <a:lnTo>
                      <a:pt x="462" y="722"/>
                    </a:lnTo>
                    <a:lnTo>
                      <a:pt x="478" y="736"/>
                    </a:lnTo>
                    <a:lnTo>
                      <a:pt x="488" y="750"/>
                    </a:lnTo>
                    <a:lnTo>
                      <a:pt x="488" y="754"/>
                    </a:lnTo>
                    <a:lnTo>
                      <a:pt x="514" y="818"/>
                    </a:lnTo>
                    <a:lnTo>
                      <a:pt x="518" y="828"/>
                    </a:lnTo>
                    <a:lnTo>
                      <a:pt x="546" y="862"/>
                    </a:lnTo>
                    <a:lnTo>
                      <a:pt x="548" y="868"/>
                    </a:lnTo>
                    <a:lnTo>
                      <a:pt x="568" y="890"/>
                    </a:lnTo>
                    <a:lnTo>
                      <a:pt x="572" y="894"/>
                    </a:lnTo>
                    <a:lnTo>
                      <a:pt x="580" y="902"/>
                    </a:lnTo>
                    <a:lnTo>
                      <a:pt x="582" y="908"/>
                    </a:lnTo>
                    <a:lnTo>
                      <a:pt x="582" y="928"/>
                    </a:lnTo>
                    <a:lnTo>
                      <a:pt x="588" y="936"/>
                    </a:lnTo>
                    <a:lnTo>
                      <a:pt x="590" y="960"/>
                    </a:lnTo>
                    <a:lnTo>
                      <a:pt x="596" y="968"/>
                    </a:lnTo>
                    <a:lnTo>
                      <a:pt x="616" y="1006"/>
                    </a:lnTo>
                    <a:lnTo>
                      <a:pt x="618" y="1018"/>
                    </a:lnTo>
                    <a:lnTo>
                      <a:pt x="632" y="1018"/>
                    </a:lnTo>
                    <a:lnTo>
                      <a:pt x="648" y="1028"/>
                    </a:lnTo>
                    <a:lnTo>
                      <a:pt x="666" y="1034"/>
                    </a:lnTo>
                    <a:lnTo>
                      <a:pt x="694" y="1052"/>
                    </a:lnTo>
                    <a:lnTo>
                      <a:pt x="732" y="1054"/>
                    </a:lnTo>
                    <a:lnTo>
                      <a:pt x="738" y="1056"/>
                    </a:lnTo>
                    <a:lnTo>
                      <a:pt x="758" y="1070"/>
                    </a:lnTo>
                    <a:lnTo>
                      <a:pt x="770" y="1074"/>
                    </a:lnTo>
                    <a:lnTo>
                      <a:pt x="778" y="1062"/>
                    </a:lnTo>
                    <a:lnTo>
                      <a:pt x="788" y="1064"/>
                    </a:lnTo>
                    <a:lnTo>
                      <a:pt x="790" y="1062"/>
                    </a:lnTo>
                    <a:lnTo>
                      <a:pt x="790" y="1056"/>
                    </a:lnTo>
                    <a:lnTo>
                      <a:pt x="782" y="1054"/>
                    </a:lnTo>
                    <a:lnTo>
                      <a:pt x="782" y="1050"/>
                    </a:lnTo>
                    <a:lnTo>
                      <a:pt x="774" y="1040"/>
                    </a:lnTo>
                    <a:lnTo>
                      <a:pt x="762" y="994"/>
                    </a:lnTo>
                    <a:lnTo>
                      <a:pt x="756" y="974"/>
                    </a:lnTo>
                    <a:lnTo>
                      <a:pt x="766" y="946"/>
                    </a:lnTo>
                    <a:lnTo>
                      <a:pt x="764" y="938"/>
                    </a:lnTo>
                    <a:lnTo>
                      <a:pt x="762" y="936"/>
                    </a:lnTo>
                    <a:lnTo>
                      <a:pt x="758" y="936"/>
                    </a:lnTo>
                    <a:lnTo>
                      <a:pt x="758" y="934"/>
                    </a:lnTo>
                    <a:lnTo>
                      <a:pt x="758" y="932"/>
                    </a:lnTo>
                    <a:lnTo>
                      <a:pt x="760" y="930"/>
                    </a:lnTo>
                    <a:lnTo>
                      <a:pt x="772" y="922"/>
                    </a:lnTo>
                    <a:lnTo>
                      <a:pt x="780" y="896"/>
                    </a:lnTo>
                    <a:lnTo>
                      <a:pt x="774" y="894"/>
                    </a:lnTo>
                    <a:lnTo>
                      <a:pt x="770" y="882"/>
                    </a:lnTo>
                    <a:lnTo>
                      <a:pt x="778" y="874"/>
                    </a:lnTo>
                    <a:lnTo>
                      <a:pt x="786" y="880"/>
                    </a:lnTo>
                    <a:lnTo>
                      <a:pt x="800" y="870"/>
                    </a:lnTo>
                    <a:lnTo>
                      <a:pt x="804" y="856"/>
                    </a:lnTo>
                    <a:lnTo>
                      <a:pt x="796" y="852"/>
                    </a:lnTo>
                    <a:lnTo>
                      <a:pt x="800" y="846"/>
                    </a:lnTo>
                    <a:lnTo>
                      <a:pt x="804" y="846"/>
                    </a:lnTo>
                    <a:lnTo>
                      <a:pt x="806" y="848"/>
                    </a:lnTo>
                    <a:lnTo>
                      <a:pt x="810" y="844"/>
                    </a:lnTo>
                    <a:lnTo>
                      <a:pt x="814" y="846"/>
                    </a:lnTo>
                    <a:lnTo>
                      <a:pt x="820" y="846"/>
                    </a:lnTo>
                    <a:lnTo>
                      <a:pt x="822" y="844"/>
                    </a:lnTo>
                    <a:lnTo>
                      <a:pt x="824" y="842"/>
                    </a:lnTo>
                    <a:lnTo>
                      <a:pt x="824" y="830"/>
                    </a:lnTo>
                    <a:lnTo>
                      <a:pt x="826" y="826"/>
                    </a:lnTo>
                    <a:lnTo>
                      <a:pt x="828" y="826"/>
                    </a:lnTo>
                    <a:lnTo>
                      <a:pt x="832" y="828"/>
                    </a:lnTo>
                    <a:lnTo>
                      <a:pt x="834" y="828"/>
                    </a:lnTo>
                    <a:lnTo>
                      <a:pt x="856" y="824"/>
                    </a:lnTo>
                    <a:lnTo>
                      <a:pt x="858" y="822"/>
                    </a:lnTo>
                    <a:lnTo>
                      <a:pt x="858" y="820"/>
                    </a:lnTo>
                    <a:lnTo>
                      <a:pt x="856" y="818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66" y="800"/>
                    </a:lnTo>
                    <a:lnTo>
                      <a:pt x="868" y="796"/>
                    </a:lnTo>
                    <a:lnTo>
                      <a:pt x="874" y="794"/>
                    </a:lnTo>
                    <a:lnTo>
                      <a:pt x="876" y="796"/>
                    </a:lnTo>
                    <a:lnTo>
                      <a:pt x="874" y="798"/>
                    </a:lnTo>
                    <a:lnTo>
                      <a:pt x="876" y="804"/>
                    </a:lnTo>
                    <a:lnTo>
                      <a:pt x="880" y="804"/>
                    </a:lnTo>
                    <a:lnTo>
                      <a:pt x="884" y="802"/>
                    </a:lnTo>
                    <a:lnTo>
                      <a:pt x="914" y="792"/>
                    </a:lnTo>
                    <a:lnTo>
                      <a:pt x="964" y="758"/>
                    </a:lnTo>
                    <a:lnTo>
                      <a:pt x="966" y="746"/>
                    </a:lnTo>
                    <a:lnTo>
                      <a:pt x="990" y="726"/>
                    </a:lnTo>
                    <a:lnTo>
                      <a:pt x="990" y="724"/>
                    </a:lnTo>
                    <a:lnTo>
                      <a:pt x="982" y="710"/>
                    </a:lnTo>
                    <a:lnTo>
                      <a:pt x="982" y="698"/>
                    </a:lnTo>
                    <a:lnTo>
                      <a:pt x="998" y="692"/>
                    </a:lnTo>
                    <a:lnTo>
                      <a:pt x="1002" y="692"/>
                    </a:lnTo>
                    <a:lnTo>
                      <a:pt x="1000" y="704"/>
                    </a:lnTo>
                    <a:lnTo>
                      <a:pt x="1000" y="708"/>
                    </a:lnTo>
                    <a:lnTo>
                      <a:pt x="1020" y="706"/>
                    </a:lnTo>
                    <a:lnTo>
                      <a:pt x="1022" y="710"/>
                    </a:lnTo>
                    <a:lnTo>
                      <a:pt x="1058" y="694"/>
                    </a:lnTo>
                    <a:lnTo>
                      <a:pt x="1078" y="694"/>
                    </a:lnTo>
                    <a:lnTo>
                      <a:pt x="1080" y="692"/>
                    </a:lnTo>
                    <a:lnTo>
                      <a:pt x="1078" y="690"/>
                    </a:lnTo>
                    <a:lnTo>
                      <a:pt x="1074" y="686"/>
                    </a:lnTo>
                    <a:lnTo>
                      <a:pt x="1072" y="680"/>
                    </a:lnTo>
                    <a:lnTo>
                      <a:pt x="1076" y="676"/>
                    </a:lnTo>
                    <a:lnTo>
                      <a:pt x="1078" y="670"/>
                    </a:lnTo>
                    <a:lnTo>
                      <a:pt x="1084" y="664"/>
                    </a:lnTo>
                    <a:lnTo>
                      <a:pt x="1090" y="642"/>
                    </a:lnTo>
                    <a:lnTo>
                      <a:pt x="1086" y="634"/>
                    </a:lnTo>
                    <a:lnTo>
                      <a:pt x="1086" y="626"/>
                    </a:lnTo>
                    <a:lnTo>
                      <a:pt x="1088" y="622"/>
                    </a:lnTo>
                    <a:lnTo>
                      <a:pt x="1086" y="616"/>
                    </a:lnTo>
                    <a:lnTo>
                      <a:pt x="1090" y="604"/>
                    </a:lnTo>
                    <a:lnTo>
                      <a:pt x="1096" y="598"/>
                    </a:lnTo>
                    <a:lnTo>
                      <a:pt x="1098" y="588"/>
                    </a:lnTo>
                    <a:lnTo>
                      <a:pt x="1102" y="570"/>
                    </a:lnTo>
                    <a:lnTo>
                      <a:pt x="1102" y="560"/>
                    </a:lnTo>
                    <a:lnTo>
                      <a:pt x="1098" y="544"/>
                    </a:lnTo>
                    <a:lnTo>
                      <a:pt x="1092" y="534"/>
                    </a:lnTo>
                    <a:lnTo>
                      <a:pt x="1090" y="532"/>
                    </a:lnTo>
                    <a:lnTo>
                      <a:pt x="1090" y="526"/>
                    </a:lnTo>
                    <a:lnTo>
                      <a:pt x="1088" y="522"/>
                    </a:lnTo>
                    <a:lnTo>
                      <a:pt x="1084" y="512"/>
                    </a:lnTo>
                    <a:lnTo>
                      <a:pt x="1078" y="508"/>
                    </a:lnTo>
                    <a:lnTo>
                      <a:pt x="1076" y="504"/>
                    </a:lnTo>
                    <a:lnTo>
                      <a:pt x="1080" y="494"/>
                    </a:lnTo>
                    <a:lnTo>
                      <a:pt x="1072" y="480"/>
                    </a:lnTo>
                    <a:lnTo>
                      <a:pt x="1060" y="468"/>
                    </a:lnTo>
                    <a:lnTo>
                      <a:pt x="1056" y="462"/>
                    </a:lnTo>
                    <a:lnTo>
                      <a:pt x="1054" y="362"/>
                    </a:lnTo>
                    <a:lnTo>
                      <a:pt x="1054" y="310"/>
                    </a:lnTo>
                    <a:lnTo>
                      <a:pt x="1042" y="308"/>
                    </a:lnTo>
                    <a:lnTo>
                      <a:pt x="1032" y="312"/>
                    </a:lnTo>
                    <a:lnTo>
                      <a:pt x="1028" y="310"/>
                    </a:lnTo>
                    <a:lnTo>
                      <a:pt x="1016" y="30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6" name="Freeform 43">
                <a:extLst>
                  <a:ext uri="{FF2B5EF4-FFF2-40B4-BE49-F238E27FC236}">
                    <a16:creationId xmlns:a16="http://schemas.microsoft.com/office/drawing/2014/main" id="{AE541C17-6FB4-40DD-BBFE-258E0AC23F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7" y="1811"/>
                <a:ext cx="583" cy="301"/>
              </a:xfrm>
              <a:custGeom>
                <a:avLst/>
                <a:gdLst>
                  <a:gd name="T0" fmla="*/ 117 w 580"/>
                  <a:gd name="T1" fmla="*/ 291 h 298"/>
                  <a:gd name="T2" fmla="*/ 115 w 580"/>
                  <a:gd name="T3" fmla="*/ 277 h 298"/>
                  <a:gd name="T4" fmla="*/ 133 w 580"/>
                  <a:gd name="T5" fmla="*/ 277 h 298"/>
                  <a:gd name="T6" fmla="*/ 466 w 580"/>
                  <a:gd name="T7" fmla="*/ 242 h 298"/>
                  <a:gd name="T8" fmla="*/ 501 w 580"/>
                  <a:gd name="T9" fmla="*/ 224 h 298"/>
                  <a:gd name="T10" fmla="*/ 521 w 580"/>
                  <a:gd name="T11" fmla="*/ 206 h 298"/>
                  <a:gd name="T12" fmla="*/ 523 w 580"/>
                  <a:gd name="T13" fmla="*/ 194 h 298"/>
                  <a:gd name="T14" fmla="*/ 531 w 580"/>
                  <a:gd name="T15" fmla="*/ 182 h 298"/>
                  <a:gd name="T16" fmla="*/ 579 w 580"/>
                  <a:gd name="T17" fmla="*/ 139 h 298"/>
                  <a:gd name="T18" fmla="*/ 577 w 580"/>
                  <a:gd name="T19" fmla="*/ 131 h 298"/>
                  <a:gd name="T20" fmla="*/ 569 w 580"/>
                  <a:gd name="T21" fmla="*/ 127 h 298"/>
                  <a:gd name="T22" fmla="*/ 559 w 580"/>
                  <a:gd name="T23" fmla="*/ 121 h 298"/>
                  <a:gd name="T24" fmla="*/ 553 w 580"/>
                  <a:gd name="T25" fmla="*/ 119 h 298"/>
                  <a:gd name="T26" fmla="*/ 527 w 580"/>
                  <a:gd name="T27" fmla="*/ 83 h 298"/>
                  <a:gd name="T28" fmla="*/ 525 w 580"/>
                  <a:gd name="T29" fmla="*/ 71 h 298"/>
                  <a:gd name="T30" fmla="*/ 523 w 580"/>
                  <a:gd name="T31" fmla="*/ 48 h 298"/>
                  <a:gd name="T32" fmla="*/ 511 w 580"/>
                  <a:gd name="T33" fmla="*/ 38 h 298"/>
                  <a:gd name="T34" fmla="*/ 495 w 580"/>
                  <a:gd name="T35" fmla="*/ 26 h 298"/>
                  <a:gd name="T36" fmla="*/ 480 w 580"/>
                  <a:gd name="T37" fmla="*/ 26 h 298"/>
                  <a:gd name="T38" fmla="*/ 472 w 580"/>
                  <a:gd name="T39" fmla="*/ 34 h 298"/>
                  <a:gd name="T40" fmla="*/ 460 w 580"/>
                  <a:gd name="T41" fmla="*/ 38 h 298"/>
                  <a:gd name="T42" fmla="*/ 440 w 580"/>
                  <a:gd name="T43" fmla="*/ 34 h 298"/>
                  <a:gd name="T44" fmla="*/ 418 w 580"/>
                  <a:gd name="T45" fmla="*/ 30 h 298"/>
                  <a:gd name="T46" fmla="*/ 390 w 580"/>
                  <a:gd name="T47" fmla="*/ 26 h 298"/>
                  <a:gd name="T48" fmla="*/ 368 w 580"/>
                  <a:gd name="T49" fmla="*/ 0 h 298"/>
                  <a:gd name="T50" fmla="*/ 356 w 580"/>
                  <a:gd name="T51" fmla="*/ 6 h 298"/>
                  <a:gd name="T52" fmla="*/ 340 w 580"/>
                  <a:gd name="T53" fmla="*/ 2 h 298"/>
                  <a:gd name="T54" fmla="*/ 338 w 580"/>
                  <a:gd name="T55" fmla="*/ 14 h 298"/>
                  <a:gd name="T56" fmla="*/ 340 w 580"/>
                  <a:gd name="T57" fmla="*/ 38 h 298"/>
                  <a:gd name="T58" fmla="*/ 320 w 580"/>
                  <a:gd name="T59" fmla="*/ 48 h 298"/>
                  <a:gd name="T60" fmla="*/ 302 w 580"/>
                  <a:gd name="T61" fmla="*/ 51 h 298"/>
                  <a:gd name="T62" fmla="*/ 269 w 580"/>
                  <a:gd name="T63" fmla="*/ 107 h 298"/>
                  <a:gd name="T64" fmla="*/ 245 w 580"/>
                  <a:gd name="T65" fmla="*/ 125 h 298"/>
                  <a:gd name="T66" fmla="*/ 231 w 580"/>
                  <a:gd name="T67" fmla="*/ 113 h 298"/>
                  <a:gd name="T68" fmla="*/ 219 w 580"/>
                  <a:gd name="T69" fmla="*/ 141 h 298"/>
                  <a:gd name="T70" fmla="*/ 205 w 580"/>
                  <a:gd name="T71" fmla="*/ 141 h 298"/>
                  <a:gd name="T72" fmla="*/ 187 w 580"/>
                  <a:gd name="T73" fmla="*/ 139 h 298"/>
                  <a:gd name="T74" fmla="*/ 177 w 580"/>
                  <a:gd name="T75" fmla="*/ 156 h 298"/>
                  <a:gd name="T76" fmla="*/ 151 w 580"/>
                  <a:gd name="T77" fmla="*/ 141 h 298"/>
                  <a:gd name="T78" fmla="*/ 119 w 580"/>
                  <a:gd name="T79" fmla="*/ 147 h 298"/>
                  <a:gd name="T80" fmla="*/ 117 w 580"/>
                  <a:gd name="T81" fmla="*/ 160 h 298"/>
                  <a:gd name="T82" fmla="*/ 105 w 580"/>
                  <a:gd name="T83" fmla="*/ 160 h 298"/>
                  <a:gd name="T84" fmla="*/ 105 w 580"/>
                  <a:gd name="T85" fmla="*/ 162 h 298"/>
                  <a:gd name="T86" fmla="*/ 101 w 580"/>
                  <a:gd name="T87" fmla="*/ 174 h 298"/>
                  <a:gd name="T88" fmla="*/ 99 w 580"/>
                  <a:gd name="T89" fmla="*/ 180 h 298"/>
                  <a:gd name="T90" fmla="*/ 105 w 580"/>
                  <a:gd name="T91" fmla="*/ 192 h 298"/>
                  <a:gd name="T92" fmla="*/ 72 w 580"/>
                  <a:gd name="T93" fmla="*/ 202 h 298"/>
                  <a:gd name="T94" fmla="*/ 78 w 580"/>
                  <a:gd name="T95" fmla="*/ 234 h 298"/>
                  <a:gd name="T96" fmla="*/ 58 w 580"/>
                  <a:gd name="T97" fmla="*/ 232 h 298"/>
                  <a:gd name="T98" fmla="*/ 36 w 580"/>
                  <a:gd name="T99" fmla="*/ 224 h 298"/>
                  <a:gd name="T100" fmla="*/ 22 w 580"/>
                  <a:gd name="T101" fmla="*/ 246 h 298"/>
                  <a:gd name="T102" fmla="*/ 24 w 580"/>
                  <a:gd name="T103" fmla="*/ 250 h 298"/>
                  <a:gd name="T104" fmla="*/ 32 w 580"/>
                  <a:gd name="T105" fmla="*/ 263 h 298"/>
                  <a:gd name="T106" fmla="*/ 20 w 580"/>
                  <a:gd name="T107" fmla="*/ 291 h 298"/>
                  <a:gd name="T108" fmla="*/ 6 w 580"/>
                  <a:gd name="T109" fmla="*/ 293 h 29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580" h="298">
                    <a:moveTo>
                      <a:pt x="0" y="298"/>
                    </a:moveTo>
                    <a:lnTo>
                      <a:pt x="116" y="288"/>
                    </a:lnTo>
                    <a:lnTo>
                      <a:pt x="116" y="278"/>
                    </a:lnTo>
                    <a:lnTo>
                      <a:pt x="114" y="274"/>
                    </a:lnTo>
                    <a:lnTo>
                      <a:pt x="126" y="272"/>
                    </a:lnTo>
                    <a:lnTo>
                      <a:pt x="132" y="274"/>
                    </a:lnTo>
                    <a:lnTo>
                      <a:pt x="458" y="246"/>
                    </a:lnTo>
                    <a:lnTo>
                      <a:pt x="464" y="240"/>
                    </a:lnTo>
                    <a:lnTo>
                      <a:pt x="470" y="236"/>
                    </a:lnTo>
                    <a:lnTo>
                      <a:pt x="498" y="222"/>
                    </a:lnTo>
                    <a:lnTo>
                      <a:pt x="502" y="214"/>
                    </a:lnTo>
                    <a:lnTo>
                      <a:pt x="518" y="204"/>
                    </a:lnTo>
                    <a:lnTo>
                      <a:pt x="518" y="196"/>
                    </a:lnTo>
                    <a:lnTo>
                      <a:pt x="520" y="192"/>
                    </a:lnTo>
                    <a:lnTo>
                      <a:pt x="528" y="188"/>
                    </a:lnTo>
                    <a:lnTo>
                      <a:pt x="528" y="180"/>
                    </a:lnTo>
                    <a:lnTo>
                      <a:pt x="536" y="172"/>
                    </a:lnTo>
                    <a:lnTo>
                      <a:pt x="576" y="138"/>
                    </a:lnTo>
                    <a:lnTo>
                      <a:pt x="580" y="130"/>
                    </a:lnTo>
                    <a:lnTo>
                      <a:pt x="574" y="130"/>
                    </a:lnTo>
                    <a:lnTo>
                      <a:pt x="568" y="126"/>
                    </a:lnTo>
                    <a:lnTo>
                      <a:pt x="566" y="126"/>
                    </a:lnTo>
                    <a:lnTo>
                      <a:pt x="564" y="122"/>
                    </a:lnTo>
                    <a:lnTo>
                      <a:pt x="556" y="120"/>
                    </a:lnTo>
                    <a:lnTo>
                      <a:pt x="552" y="120"/>
                    </a:lnTo>
                    <a:lnTo>
                      <a:pt x="550" y="118"/>
                    </a:lnTo>
                    <a:lnTo>
                      <a:pt x="540" y="102"/>
                    </a:lnTo>
                    <a:lnTo>
                      <a:pt x="524" y="82"/>
                    </a:lnTo>
                    <a:lnTo>
                      <a:pt x="522" y="76"/>
                    </a:lnTo>
                    <a:lnTo>
                      <a:pt x="522" y="70"/>
                    </a:lnTo>
                    <a:lnTo>
                      <a:pt x="522" y="62"/>
                    </a:lnTo>
                    <a:lnTo>
                      <a:pt x="520" y="48"/>
                    </a:lnTo>
                    <a:lnTo>
                      <a:pt x="518" y="46"/>
                    </a:lnTo>
                    <a:lnTo>
                      <a:pt x="508" y="38"/>
                    </a:lnTo>
                    <a:lnTo>
                      <a:pt x="500" y="38"/>
                    </a:lnTo>
                    <a:lnTo>
                      <a:pt x="492" y="26"/>
                    </a:lnTo>
                    <a:lnTo>
                      <a:pt x="488" y="20"/>
                    </a:lnTo>
                    <a:lnTo>
                      <a:pt x="478" y="26"/>
                    </a:lnTo>
                    <a:lnTo>
                      <a:pt x="476" y="32"/>
                    </a:lnTo>
                    <a:lnTo>
                      <a:pt x="470" y="34"/>
                    </a:lnTo>
                    <a:lnTo>
                      <a:pt x="468" y="36"/>
                    </a:lnTo>
                    <a:lnTo>
                      <a:pt x="458" y="38"/>
                    </a:lnTo>
                    <a:lnTo>
                      <a:pt x="444" y="32"/>
                    </a:lnTo>
                    <a:lnTo>
                      <a:pt x="438" y="34"/>
                    </a:lnTo>
                    <a:lnTo>
                      <a:pt x="432" y="42"/>
                    </a:lnTo>
                    <a:lnTo>
                      <a:pt x="416" y="30"/>
                    </a:lnTo>
                    <a:lnTo>
                      <a:pt x="400" y="32"/>
                    </a:lnTo>
                    <a:lnTo>
                      <a:pt x="388" y="26"/>
                    </a:lnTo>
                    <a:lnTo>
                      <a:pt x="382" y="12"/>
                    </a:lnTo>
                    <a:lnTo>
                      <a:pt x="366" y="0"/>
                    </a:lnTo>
                    <a:lnTo>
                      <a:pt x="358" y="6"/>
                    </a:lnTo>
                    <a:lnTo>
                      <a:pt x="354" y="6"/>
                    </a:lnTo>
                    <a:lnTo>
                      <a:pt x="346" y="2"/>
                    </a:lnTo>
                    <a:lnTo>
                      <a:pt x="338" y="2"/>
                    </a:lnTo>
                    <a:lnTo>
                      <a:pt x="336" y="10"/>
                    </a:lnTo>
                    <a:lnTo>
                      <a:pt x="336" y="14"/>
                    </a:lnTo>
                    <a:lnTo>
                      <a:pt x="342" y="32"/>
                    </a:lnTo>
                    <a:lnTo>
                      <a:pt x="338" y="38"/>
                    </a:lnTo>
                    <a:lnTo>
                      <a:pt x="328" y="40"/>
                    </a:lnTo>
                    <a:lnTo>
                      <a:pt x="318" y="48"/>
                    </a:lnTo>
                    <a:lnTo>
                      <a:pt x="306" y="46"/>
                    </a:lnTo>
                    <a:lnTo>
                      <a:pt x="300" y="50"/>
                    </a:lnTo>
                    <a:lnTo>
                      <a:pt x="300" y="64"/>
                    </a:lnTo>
                    <a:lnTo>
                      <a:pt x="268" y="106"/>
                    </a:lnTo>
                    <a:lnTo>
                      <a:pt x="264" y="122"/>
                    </a:lnTo>
                    <a:lnTo>
                      <a:pt x="244" y="124"/>
                    </a:lnTo>
                    <a:lnTo>
                      <a:pt x="234" y="114"/>
                    </a:lnTo>
                    <a:lnTo>
                      <a:pt x="230" y="112"/>
                    </a:lnTo>
                    <a:lnTo>
                      <a:pt x="224" y="120"/>
                    </a:lnTo>
                    <a:lnTo>
                      <a:pt x="218" y="140"/>
                    </a:lnTo>
                    <a:lnTo>
                      <a:pt x="212" y="144"/>
                    </a:lnTo>
                    <a:lnTo>
                      <a:pt x="204" y="140"/>
                    </a:lnTo>
                    <a:lnTo>
                      <a:pt x="198" y="132"/>
                    </a:lnTo>
                    <a:lnTo>
                      <a:pt x="186" y="138"/>
                    </a:lnTo>
                    <a:lnTo>
                      <a:pt x="180" y="152"/>
                    </a:lnTo>
                    <a:lnTo>
                      <a:pt x="176" y="154"/>
                    </a:lnTo>
                    <a:lnTo>
                      <a:pt x="174" y="152"/>
                    </a:lnTo>
                    <a:lnTo>
                      <a:pt x="150" y="140"/>
                    </a:lnTo>
                    <a:lnTo>
                      <a:pt x="132" y="148"/>
                    </a:lnTo>
                    <a:lnTo>
                      <a:pt x="118" y="146"/>
                    </a:lnTo>
                    <a:lnTo>
                      <a:pt x="114" y="154"/>
                    </a:lnTo>
                    <a:lnTo>
                      <a:pt x="116" y="158"/>
                    </a:lnTo>
                    <a:lnTo>
                      <a:pt x="110" y="160"/>
                    </a:lnTo>
                    <a:lnTo>
                      <a:pt x="104" y="158"/>
                    </a:lnTo>
                    <a:lnTo>
                      <a:pt x="104" y="160"/>
                    </a:lnTo>
                    <a:lnTo>
                      <a:pt x="102" y="164"/>
                    </a:lnTo>
                    <a:lnTo>
                      <a:pt x="100" y="172"/>
                    </a:lnTo>
                    <a:lnTo>
                      <a:pt x="96" y="174"/>
                    </a:lnTo>
                    <a:lnTo>
                      <a:pt x="98" y="178"/>
                    </a:lnTo>
                    <a:lnTo>
                      <a:pt x="106" y="188"/>
                    </a:lnTo>
                    <a:lnTo>
                      <a:pt x="104" y="190"/>
                    </a:lnTo>
                    <a:lnTo>
                      <a:pt x="80" y="196"/>
                    </a:lnTo>
                    <a:lnTo>
                      <a:pt x="72" y="200"/>
                    </a:lnTo>
                    <a:lnTo>
                      <a:pt x="74" y="212"/>
                    </a:lnTo>
                    <a:lnTo>
                      <a:pt x="78" y="232"/>
                    </a:lnTo>
                    <a:lnTo>
                      <a:pt x="68" y="236"/>
                    </a:lnTo>
                    <a:lnTo>
                      <a:pt x="58" y="230"/>
                    </a:lnTo>
                    <a:lnTo>
                      <a:pt x="48" y="224"/>
                    </a:lnTo>
                    <a:lnTo>
                      <a:pt x="36" y="222"/>
                    </a:lnTo>
                    <a:lnTo>
                      <a:pt x="26" y="228"/>
                    </a:lnTo>
                    <a:lnTo>
                      <a:pt x="22" y="244"/>
                    </a:lnTo>
                    <a:lnTo>
                      <a:pt x="22" y="246"/>
                    </a:lnTo>
                    <a:lnTo>
                      <a:pt x="24" y="248"/>
                    </a:lnTo>
                    <a:lnTo>
                      <a:pt x="30" y="250"/>
                    </a:lnTo>
                    <a:lnTo>
                      <a:pt x="32" y="260"/>
                    </a:lnTo>
                    <a:lnTo>
                      <a:pt x="24" y="284"/>
                    </a:lnTo>
                    <a:lnTo>
                      <a:pt x="20" y="288"/>
                    </a:lnTo>
                    <a:lnTo>
                      <a:pt x="16" y="286"/>
                    </a:lnTo>
                    <a:lnTo>
                      <a:pt x="6" y="290"/>
                    </a:lnTo>
                    <a:lnTo>
                      <a:pt x="0" y="29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Freeform 44">
                <a:extLst>
                  <a:ext uri="{FF2B5EF4-FFF2-40B4-BE49-F238E27FC236}">
                    <a16:creationId xmlns:a16="http://schemas.microsoft.com/office/drawing/2014/main" id="{FD394132-4A8C-4454-B105-B6D6330730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67" y="2037"/>
                <a:ext cx="649" cy="229"/>
              </a:xfrm>
              <a:custGeom>
                <a:avLst/>
                <a:gdLst>
                  <a:gd name="T0" fmla="*/ 649 w 646"/>
                  <a:gd name="T1" fmla="*/ 0 h 228"/>
                  <a:gd name="T2" fmla="*/ 516 w 646"/>
                  <a:gd name="T3" fmla="*/ 16 h 228"/>
                  <a:gd name="T4" fmla="*/ 510 w 646"/>
                  <a:gd name="T5" fmla="*/ 22 h 228"/>
                  <a:gd name="T6" fmla="*/ 183 w 646"/>
                  <a:gd name="T7" fmla="*/ 50 h 228"/>
                  <a:gd name="T8" fmla="*/ 177 w 646"/>
                  <a:gd name="T9" fmla="*/ 48 h 228"/>
                  <a:gd name="T10" fmla="*/ 165 w 646"/>
                  <a:gd name="T11" fmla="*/ 50 h 228"/>
                  <a:gd name="T12" fmla="*/ 167 w 646"/>
                  <a:gd name="T13" fmla="*/ 54 h 228"/>
                  <a:gd name="T14" fmla="*/ 167 w 646"/>
                  <a:gd name="T15" fmla="*/ 64 h 228"/>
                  <a:gd name="T16" fmla="*/ 50 w 646"/>
                  <a:gd name="T17" fmla="*/ 74 h 228"/>
                  <a:gd name="T18" fmla="*/ 44 w 646"/>
                  <a:gd name="T19" fmla="*/ 88 h 228"/>
                  <a:gd name="T20" fmla="*/ 40 w 646"/>
                  <a:gd name="T21" fmla="*/ 104 h 228"/>
                  <a:gd name="T22" fmla="*/ 42 w 646"/>
                  <a:gd name="T23" fmla="*/ 110 h 228"/>
                  <a:gd name="T24" fmla="*/ 38 w 646"/>
                  <a:gd name="T25" fmla="*/ 125 h 228"/>
                  <a:gd name="T26" fmla="*/ 36 w 646"/>
                  <a:gd name="T27" fmla="*/ 131 h 228"/>
                  <a:gd name="T28" fmla="*/ 38 w 646"/>
                  <a:gd name="T29" fmla="*/ 135 h 228"/>
                  <a:gd name="T30" fmla="*/ 34 w 646"/>
                  <a:gd name="T31" fmla="*/ 143 h 228"/>
                  <a:gd name="T32" fmla="*/ 24 w 646"/>
                  <a:gd name="T33" fmla="*/ 153 h 228"/>
                  <a:gd name="T34" fmla="*/ 20 w 646"/>
                  <a:gd name="T35" fmla="*/ 175 h 228"/>
                  <a:gd name="T36" fmla="*/ 10 w 646"/>
                  <a:gd name="T37" fmla="*/ 187 h 228"/>
                  <a:gd name="T38" fmla="*/ 12 w 646"/>
                  <a:gd name="T39" fmla="*/ 201 h 228"/>
                  <a:gd name="T40" fmla="*/ 10 w 646"/>
                  <a:gd name="T41" fmla="*/ 219 h 228"/>
                  <a:gd name="T42" fmla="*/ 8 w 646"/>
                  <a:gd name="T43" fmla="*/ 219 h 228"/>
                  <a:gd name="T44" fmla="*/ 0 w 646"/>
                  <a:gd name="T45" fmla="*/ 229 h 228"/>
                  <a:gd name="T46" fmla="*/ 167 w 646"/>
                  <a:gd name="T47" fmla="*/ 215 h 228"/>
                  <a:gd name="T48" fmla="*/ 376 w 646"/>
                  <a:gd name="T49" fmla="*/ 197 h 228"/>
                  <a:gd name="T50" fmla="*/ 456 w 646"/>
                  <a:gd name="T51" fmla="*/ 189 h 228"/>
                  <a:gd name="T52" fmla="*/ 458 w 646"/>
                  <a:gd name="T53" fmla="*/ 165 h 228"/>
                  <a:gd name="T54" fmla="*/ 466 w 646"/>
                  <a:gd name="T55" fmla="*/ 165 h 228"/>
                  <a:gd name="T56" fmla="*/ 470 w 646"/>
                  <a:gd name="T57" fmla="*/ 165 h 228"/>
                  <a:gd name="T58" fmla="*/ 476 w 646"/>
                  <a:gd name="T59" fmla="*/ 159 h 228"/>
                  <a:gd name="T60" fmla="*/ 476 w 646"/>
                  <a:gd name="T61" fmla="*/ 153 h 228"/>
                  <a:gd name="T62" fmla="*/ 476 w 646"/>
                  <a:gd name="T63" fmla="*/ 147 h 228"/>
                  <a:gd name="T64" fmla="*/ 478 w 646"/>
                  <a:gd name="T65" fmla="*/ 141 h 228"/>
                  <a:gd name="T66" fmla="*/ 484 w 646"/>
                  <a:gd name="T67" fmla="*/ 135 h 228"/>
                  <a:gd name="T68" fmla="*/ 500 w 646"/>
                  <a:gd name="T69" fmla="*/ 127 h 228"/>
                  <a:gd name="T70" fmla="*/ 520 w 646"/>
                  <a:gd name="T71" fmla="*/ 123 h 228"/>
                  <a:gd name="T72" fmla="*/ 538 w 646"/>
                  <a:gd name="T73" fmla="*/ 106 h 228"/>
                  <a:gd name="T74" fmla="*/ 545 w 646"/>
                  <a:gd name="T75" fmla="*/ 102 h 228"/>
                  <a:gd name="T76" fmla="*/ 557 w 646"/>
                  <a:gd name="T77" fmla="*/ 92 h 228"/>
                  <a:gd name="T78" fmla="*/ 559 w 646"/>
                  <a:gd name="T79" fmla="*/ 82 h 228"/>
                  <a:gd name="T80" fmla="*/ 563 w 646"/>
                  <a:gd name="T81" fmla="*/ 82 h 228"/>
                  <a:gd name="T82" fmla="*/ 567 w 646"/>
                  <a:gd name="T83" fmla="*/ 82 h 228"/>
                  <a:gd name="T84" fmla="*/ 571 w 646"/>
                  <a:gd name="T85" fmla="*/ 78 h 228"/>
                  <a:gd name="T86" fmla="*/ 571 w 646"/>
                  <a:gd name="T87" fmla="*/ 76 h 228"/>
                  <a:gd name="T88" fmla="*/ 577 w 646"/>
                  <a:gd name="T89" fmla="*/ 70 h 228"/>
                  <a:gd name="T90" fmla="*/ 581 w 646"/>
                  <a:gd name="T91" fmla="*/ 70 h 228"/>
                  <a:gd name="T92" fmla="*/ 585 w 646"/>
                  <a:gd name="T93" fmla="*/ 74 h 228"/>
                  <a:gd name="T94" fmla="*/ 591 w 646"/>
                  <a:gd name="T95" fmla="*/ 70 h 228"/>
                  <a:gd name="T96" fmla="*/ 593 w 646"/>
                  <a:gd name="T97" fmla="*/ 66 h 228"/>
                  <a:gd name="T98" fmla="*/ 601 w 646"/>
                  <a:gd name="T99" fmla="*/ 58 h 228"/>
                  <a:gd name="T100" fmla="*/ 609 w 646"/>
                  <a:gd name="T101" fmla="*/ 56 h 228"/>
                  <a:gd name="T102" fmla="*/ 621 w 646"/>
                  <a:gd name="T103" fmla="*/ 56 h 228"/>
                  <a:gd name="T104" fmla="*/ 635 w 646"/>
                  <a:gd name="T105" fmla="*/ 34 h 228"/>
                  <a:gd name="T106" fmla="*/ 645 w 646"/>
                  <a:gd name="T107" fmla="*/ 26 h 228"/>
                  <a:gd name="T108" fmla="*/ 647 w 646"/>
                  <a:gd name="T109" fmla="*/ 20 h 228"/>
                  <a:gd name="T110" fmla="*/ 649 w 646"/>
                  <a:gd name="T111" fmla="*/ 14 h 228"/>
                  <a:gd name="T112" fmla="*/ 647 w 646"/>
                  <a:gd name="T113" fmla="*/ 6 h 228"/>
                  <a:gd name="T114" fmla="*/ 649 w 646"/>
                  <a:gd name="T115" fmla="*/ 0 h 22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646" h="228">
                    <a:moveTo>
                      <a:pt x="646" y="0"/>
                    </a:moveTo>
                    <a:lnTo>
                      <a:pt x="514" y="16"/>
                    </a:lnTo>
                    <a:lnTo>
                      <a:pt x="508" y="22"/>
                    </a:lnTo>
                    <a:lnTo>
                      <a:pt x="182" y="50"/>
                    </a:lnTo>
                    <a:lnTo>
                      <a:pt x="176" y="48"/>
                    </a:lnTo>
                    <a:lnTo>
                      <a:pt x="164" y="50"/>
                    </a:lnTo>
                    <a:lnTo>
                      <a:pt x="166" y="54"/>
                    </a:lnTo>
                    <a:lnTo>
                      <a:pt x="166" y="64"/>
                    </a:lnTo>
                    <a:lnTo>
                      <a:pt x="50" y="74"/>
                    </a:lnTo>
                    <a:lnTo>
                      <a:pt x="44" y="88"/>
                    </a:lnTo>
                    <a:lnTo>
                      <a:pt x="40" y="104"/>
                    </a:lnTo>
                    <a:lnTo>
                      <a:pt x="42" y="110"/>
                    </a:lnTo>
                    <a:lnTo>
                      <a:pt x="38" y="124"/>
                    </a:lnTo>
                    <a:lnTo>
                      <a:pt x="36" y="130"/>
                    </a:lnTo>
                    <a:lnTo>
                      <a:pt x="38" y="134"/>
                    </a:lnTo>
                    <a:lnTo>
                      <a:pt x="34" y="142"/>
                    </a:lnTo>
                    <a:lnTo>
                      <a:pt x="24" y="152"/>
                    </a:lnTo>
                    <a:lnTo>
                      <a:pt x="20" y="174"/>
                    </a:lnTo>
                    <a:lnTo>
                      <a:pt x="10" y="186"/>
                    </a:lnTo>
                    <a:lnTo>
                      <a:pt x="12" y="200"/>
                    </a:lnTo>
                    <a:lnTo>
                      <a:pt x="10" y="218"/>
                    </a:lnTo>
                    <a:lnTo>
                      <a:pt x="8" y="218"/>
                    </a:lnTo>
                    <a:lnTo>
                      <a:pt x="0" y="228"/>
                    </a:lnTo>
                    <a:lnTo>
                      <a:pt x="166" y="214"/>
                    </a:lnTo>
                    <a:lnTo>
                      <a:pt x="374" y="196"/>
                    </a:lnTo>
                    <a:lnTo>
                      <a:pt x="454" y="188"/>
                    </a:lnTo>
                    <a:lnTo>
                      <a:pt x="456" y="164"/>
                    </a:lnTo>
                    <a:lnTo>
                      <a:pt x="464" y="164"/>
                    </a:lnTo>
                    <a:lnTo>
                      <a:pt x="468" y="164"/>
                    </a:lnTo>
                    <a:lnTo>
                      <a:pt x="474" y="158"/>
                    </a:lnTo>
                    <a:lnTo>
                      <a:pt x="474" y="152"/>
                    </a:lnTo>
                    <a:lnTo>
                      <a:pt x="474" y="146"/>
                    </a:lnTo>
                    <a:lnTo>
                      <a:pt x="476" y="140"/>
                    </a:lnTo>
                    <a:lnTo>
                      <a:pt x="482" y="134"/>
                    </a:lnTo>
                    <a:lnTo>
                      <a:pt x="498" y="126"/>
                    </a:lnTo>
                    <a:lnTo>
                      <a:pt x="518" y="122"/>
                    </a:lnTo>
                    <a:lnTo>
                      <a:pt x="536" y="106"/>
                    </a:lnTo>
                    <a:lnTo>
                      <a:pt x="542" y="102"/>
                    </a:lnTo>
                    <a:lnTo>
                      <a:pt x="554" y="92"/>
                    </a:lnTo>
                    <a:lnTo>
                      <a:pt x="556" y="82"/>
                    </a:lnTo>
                    <a:lnTo>
                      <a:pt x="560" y="82"/>
                    </a:lnTo>
                    <a:lnTo>
                      <a:pt x="564" y="82"/>
                    </a:lnTo>
                    <a:lnTo>
                      <a:pt x="568" y="78"/>
                    </a:lnTo>
                    <a:lnTo>
                      <a:pt x="568" y="76"/>
                    </a:lnTo>
                    <a:lnTo>
                      <a:pt x="574" y="70"/>
                    </a:lnTo>
                    <a:lnTo>
                      <a:pt x="578" y="70"/>
                    </a:lnTo>
                    <a:lnTo>
                      <a:pt x="582" y="74"/>
                    </a:lnTo>
                    <a:lnTo>
                      <a:pt x="588" y="70"/>
                    </a:lnTo>
                    <a:lnTo>
                      <a:pt x="590" y="66"/>
                    </a:lnTo>
                    <a:lnTo>
                      <a:pt x="598" y="58"/>
                    </a:lnTo>
                    <a:lnTo>
                      <a:pt x="606" y="56"/>
                    </a:lnTo>
                    <a:lnTo>
                      <a:pt x="618" y="56"/>
                    </a:lnTo>
                    <a:lnTo>
                      <a:pt x="632" y="34"/>
                    </a:lnTo>
                    <a:lnTo>
                      <a:pt x="642" y="26"/>
                    </a:lnTo>
                    <a:lnTo>
                      <a:pt x="644" y="20"/>
                    </a:lnTo>
                    <a:lnTo>
                      <a:pt x="646" y="14"/>
                    </a:lnTo>
                    <a:lnTo>
                      <a:pt x="644" y="6"/>
                    </a:lnTo>
                    <a:lnTo>
                      <a:pt x="646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" name="Freeform 45">
                <a:extLst>
                  <a:ext uri="{FF2B5EF4-FFF2-40B4-BE49-F238E27FC236}">
                    <a16:creationId xmlns:a16="http://schemas.microsoft.com/office/drawing/2014/main" id="{68487F30-F3D4-401F-AEB3-328F9A8A46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0" y="1489"/>
                <a:ext cx="331" cy="371"/>
              </a:xfrm>
              <a:custGeom>
                <a:avLst/>
                <a:gdLst>
                  <a:gd name="T0" fmla="*/ 28 w 330"/>
                  <a:gd name="T1" fmla="*/ 325 h 370"/>
                  <a:gd name="T2" fmla="*/ 44 w 330"/>
                  <a:gd name="T3" fmla="*/ 329 h 370"/>
                  <a:gd name="T4" fmla="*/ 56 w 330"/>
                  <a:gd name="T5" fmla="*/ 323 h 370"/>
                  <a:gd name="T6" fmla="*/ 78 w 330"/>
                  <a:gd name="T7" fmla="*/ 349 h 370"/>
                  <a:gd name="T8" fmla="*/ 106 w 330"/>
                  <a:gd name="T9" fmla="*/ 353 h 370"/>
                  <a:gd name="T10" fmla="*/ 128 w 330"/>
                  <a:gd name="T11" fmla="*/ 357 h 370"/>
                  <a:gd name="T12" fmla="*/ 148 w 330"/>
                  <a:gd name="T13" fmla="*/ 361 h 370"/>
                  <a:gd name="T14" fmla="*/ 160 w 330"/>
                  <a:gd name="T15" fmla="*/ 357 h 370"/>
                  <a:gd name="T16" fmla="*/ 169 w 330"/>
                  <a:gd name="T17" fmla="*/ 349 h 370"/>
                  <a:gd name="T18" fmla="*/ 183 w 330"/>
                  <a:gd name="T19" fmla="*/ 349 h 370"/>
                  <a:gd name="T20" fmla="*/ 199 w 330"/>
                  <a:gd name="T21" fmla="*/ 361 h 370"/>
                  <a:gd name="T22" fmla="*/ 211 w 330"/>
                  <a:gd name="T23" fmla="*/ 371 h 370"/>
                  <a:gd name="T24" fmla="*/ 229 w 330"/>
                  <a:gd name="T25" fmla="*/ 357 h 370"/>
                  <a:gd name="T26" fmla="*/ 235 w 330"/>
                  <a:gd name="T27" fmla="*/ 343 h 370"/>
                  <a:gd name="T28" fmla="*/ 241 w 330"/>
                  <a:gd name="T29" fmla="*/ 307 h 370"/>
                  <a:gd name="T30" fmla="*/ 255 w 330"/>
                  <a:gd name="T31" fmla="*/ 319 h 370"/>
                  <a:gd name="T32" fmla="*/ 261 w 330"/>
                  <a:gd name="T33" fmla="*/ 297 h 370"/>
                  <a:gd name="T34" fmla="*/ 275 w 330"/>
                  <a:gd name="T35" fmla="*/ 273 h 370"/>
                  <a:gd name="T36" fmla="*/ 281 w 330"/>
                  <a:gd name="T37" fmla="*/ 263 h 370"/>
                  <a:gd name="T38" fmla="*/ 297 w 330"/>
                  <a:gd name="T39" fmla="*/ 261 h 370"/>
                  <a:gd name="T40" fmla="*/ 313 w 330"/>
                  <a:gd name="T41" fmla="*/ 241 h 370"/>
                  <a:gd name="T42" fmla="*/ 325 w 330"/>
                  <a:gd name="T43" fmla="*/ 231 h 370"/>
                  <a:gd name="T44" fmla="*/ 321 w 330"/>
                  <a:gd name="T45" fmla="*/ 215 h 370"/>
                  <a:gd name="T46" fmla="*/ 325 w 330"/>
                  <a:gd name="T47" fmla="*/ 199 h 370"/>
                  <a:gd name="T48" fmla="*/ 317 w 330"/>
                  <a:gd name="T49" fmla="*/ 154 h 370"/>
                  <a:gd name="T50" fmla="*/ 323 w 330"/>
                  <a:gd name="T51" fmla="*/ 136 h 370"/>
                  <a:gd name="T52" fmla="*/ 331 w 330"/>
                  <a:gd name="T53" fmla="*/ 132 h 370"/>
                  <a:gd name="T54" fmla="*/ 271 w 330"/>
                  <a:gd name="T55" fmla="*/ 20 h 370"/>
                  <a:gd name="T56" fmla="*/ 247 w 330"/>
                  <a:gd name="T57" fmla="*/ 34 h 370"/>
                  <a:gd name="T58" fmla="*/ 219 w 330"/>
                  <a:gd name="T59" fmla="*/ 62 h 370"/>
                  <a:gd name="T60" fmla="*/ 201 w 330"/>
                  <a:gd name="T61" fmla="*/ 62 h 370"/>
                  <a:gd name="T62" fmla="*/ 177 w 330"/>
                  <a:gd name="T63" fmla="*/ 78 h 370"/>
                  <a:gd name="T64" fmla="*/ 154 w 330"/>
                  <a:gd name="T65" fmla="*/ 72 h 370"/>
                  <a:gd name="T66" fmla="*/ 146 w 330"/>
                  <a:gd name="T67" fmla="*/ 72 h 370"/>
                  <a:gd name="T68" fmla="*/ 146 w 330"/>
                  <a:gd name="T69" fmla="*/ 66 h 370"/>
                  <a:gd name="T70" fmla="*/ 112 w 330"/>
                  <a:gd name="T71" fmla="*/ 56 h 370"/>
                  <a:gd name="T72" fmla="*/ 96 w 330"/>
                  <a:gd name="T73" fmla="*/ 58 h 370"/>
                  <a:gd name="T74" fmla="*/ 0 w 330"/>
                  <a:gd name="T75" fmla="*/ 66 h 37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30" h="370">
                    <a:moveTo>
                      <a:pt x="0" y="66"/>
                    </a:moveTo>
                    <a:lnTo>
                      <a:pt x="28" y="324"/>
                    </a:lnTo>
                    <a:lnTo>
                      <a:pt x="36" y="324"/>
                    </a:lnTo>
                    <a:lnTo>
                      <a:pt x="44" y="328"/>
                    </a:lnTo>
                    <a:lnTo>
                      <a:pt x="48" y="328"/>
                    </a:lnTo>
                    <a:lnTo>
                      <a:pt x="56" y="322"/>
                    </a:lnTo>
                    <a:lnTo>
                      <a:pt x="72" y="334"/>
                    </a:lnTo>
                    <a:lnTo>
                      <a:pt x="78" y="348"/>
                    </a:lnTo>
                    <a:lnTo>
                      <a:pt x="90" y="354"/>
                    </a:lnTo>
                    <a:lnTo>
                      <a:pt x="106" y="352"/>
                    </a:lnTo>
                    <a:lnTo>
                      <a:pt x="122" y="364"/>
                    </a:lnTo>
                    <a:lnTo>
                      <a:pt x="128" y="356"/>
                    </a:lnTo>
                    <a:lnTo>
                      <a:pt x="134" y="354"/>
                    </a:lnTo>
                    <a:lnTo>
                      <a:pt x="148" y="360"/>
                    </a:lnTo>
                    <a:lnTo>
                      <a:pt x="158" y="358"/>
                    </a:lnTo>
                    <a:lnTo>
                      <a:pt x="160" y="356"/>
                    </a:lnTo>
                    <a:lnTo>
                      <a:pt x="166" y="354"/>
                    </a:lnTo>
                    <a:lnTo>
                      <a:pt x="168" y="348"/>
                    </a:lnTo>
                    <a:lnTo>
                      <a:pt x="178" y="342"/>
                    </a:lnTo>
                    <a:lnTo>
                      <a:pt x="182" y="348"/>
                    </a:lnTo>
                    <a:lnTo>
                      <a:pt x="190" y="360"/>
                    </a:lnTo>
                    <a:lnTo>
                      <a:pt x="198" y="360"/>
                    </a:lnTo>
                    <a:lnTo>
                      <a:pt x="208" y="368"/>
                    </a:lnTo>
                    <a:lnTo>
                      <a:pt x="210" y="370"/>
                    </a:lnTo>
                    <a:lnTo>
                      <a:pt x="220" y="370"/>
                    </a:lnTo>
                    <a:lnTo>
                      <a:pt x="228" y="356"/>
                    </a:lnTo>
                    <a:lnTo>
                      <a:pt x="234" y="352"/>
                    </a:lnTo>
                    <a:lnTo>
                      <a:pt x="234" y="342"/>
                    </a:lnTo>
                    <a:lnTo>
                      <a:pt x="234" y="330"/>
                    </a:lnTo>
                    <a:lnTo>
                      <a:pt x="240" y="306"/>
                    </a:lnTo>
                    <a:lnTo>
                      <a:pt x="246" y="306"/>
                    </a:lnTo>
                    <a:lnTo>
                      <a:pt x="254" y="318"/>
                    </a:lnTo>
                    <a:lnTo>
                      <a:pt x="262" y="308"/>
                    </a:lnTo>
                    <a:lnTo>
                      <a:pt x="260" y="296"/>
                    </a:lnTo>
                    <a:lnTo>
                      <a:pt x="268" y="280"/>
                    </a:lnTo>
                    <a:lnTo>
                      <a:pt x="274" y="272"/>
                    </a:lnTo>
                    <a:lnTo>
                      <a:pt x="274" y="268"/>
                    </a:lnTo>
                    <a:lnTo>
                      <a:pt x="280" y="262"/>
                    </a:lnTo>
                    <a:lnTo>
                      <a:pt x="288" y="264"/>
                    </a:lnTo>
                    <a:lnTo>
                      <a:pt x="296" y="260"/>
                    </a:lnTo>
                    <a:lnTo>
                      <a:pt x="298" y="258"/>
                    </a:lnTo>
                    <a:lnTo>
                      <a:pt x="312" y="240"/>
                    </a:lnTo>
                    <a:lnTo>
                      <a:pt x="316" y="238"/>
                    </a:lnTo>
                    <a:lnTo>
                      <a:pt x="324" y="230"/>
                    </a:lnTo>
                    <a:lnTo>
                      <a:pt x="322" y="220"/>
                    </a:lnTo>
                    <a:lnTo>
                      <a:pt x="320" y="214"/>
                    </a:lnTo>
                    <a:lnTo>
                      <a:pt x="320" y="206"/>
                    </a:lnTo>
                    <a:lnTo>
                      <a:pt x="324" y="198"/>
                    </a:lnTo>
                    <a:lnTo>
                      <a:pt x="330" y="162"/>
                    </a:lnTo>
                    <a:lnTo>
                      <a:pt x="316" y="154"/>
                    </a:lnTo>
                    <a:lnTo>
                      <a:pt x="326" y="146"/>
                    </a:lnTo>
                    <a:lnTo>
                      <a:pt x="322" y="136"/>
                    </a:lnTo>
                    <a:lnTo>
                      <a:pt x="328" y="130"/>
                    </a:lnTo>
                    <a:lnTo>
                      <a:pt x="330" y="132"/>
                    </a:lnTo>
                    <a:lnTo>
                      <a:pt x="308" y="0"/>
                    </a:lnTo>
                    <a:lnTo>
                      <a:pt x="270" y="20"/>
                    </a:lnTo>
                    <a:lnTo>
                      <a:pt x="254" y="30"/>
                    </a:lnTo>
                    <a:lnTo>
                      <a:pt x="246" y="34"/>
                    </a:lnTo>
                    <a:lnTo>
                      <a:pt x="224" y="58"/>
                    </a:lnTo>
                    <a:lnTo>
                      <a:pt x="218" y="62"/>
                    </a:lnTo>
                    <a:lnTo>
                      <a:pt x="212" y="62"/>
                    </a:lnTo>
                    <a:lnTo>
                      <a:pt x="200" y="62"/>
                    </a:lnTo>
                    <a:lnTo>
                      <a:pt x="194" y="64"/>
                    </a:lnTo>
                    <a:lnTo>
                      <a:pt x="176" y="78"/>
                    </a:lnTo>
                    <a:lnTo>
                      <a:pt x="168" y="76"/>
                    </a:lnTo>
                    <a:lnTo>
                      <a:pt x="154" y="72"/>
                    </a:lnTo>
                    <a:lnTo>
                      <a:pt x="150" y="74"/>
                    </a:lnTo>
                    <a:lnTo>
                      <a:pt x="146" y="72"/>
                    </a:lnTo>
                    <a:lnTo>
                      <a:pt x="150" y="66"/>
                    </a:lnTo>
                    <a:lnTo>
                      <a:pt x="146" y="66"/>
                    </a:lnTo>
                    <a:lnTo>
                      <a:pt x="136" y="64"/>
                    </a:lnTo>
                    <a:lnTo>
                      <a:pt x="112" y="56"/>
                    </a:lnTo>
                    <a:lnTo>
                      <a:pt x="108" y="56"/>
                    </a:lnTo>
                    <a:lnTo>
                      <a:pt x="96" y="58"/>
                    </a:lnTo>
                    <a:lnTo>
                      <a:pt x="96" y="52"/>
                    </a:lnTo>
                    <a:lnTo>
                      <a:pt x="0" y="6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Freeform 46">
                <a:extLst>
                  <a:ext uri="{FF2B5EF4-FFF2-40B4-BE49-F238E27FC236}">
                    <a16:creationId xmlns:a16="http://schemas.microsoft.com/office/drawing/2014/main" id="{503D73E3-C719-4EB2-B69F-D189F41DBF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23" y="1958"/>
                <a:ext cx="699" cy="301"/>
              </a:xfrm>
              <a:custGeom>
                <a:avLst/>
                <a:gdLst>
                  <a:gd name="T0" fmla="*/ 10 w 694"/>
                  <a:gd name="T1" fmla="*/ 243 h 300"/>
                  <a:gd name="T2" fmla="*/ 20 w 694"/>
                  <a:gd name="T3" fmla="*/ 231 h 300"/>
                  <a:gd name="T4" fmla="*/ 28 w 694"/>
                  <a:gd name="T5" fmla="*/ 213 h 300"/>
                  <a:gd name="T6" fmla="*/ 83 w 694"/>
                  <a:gd name="T7" fmla="*/ 185 h 300"/>
                  <a:gd name="T8" fmla="*/ 103 w 694"/>
                  <a:gd name="T9" fmla="*/ 161 h 300"/>
                  <a:gd name="T10" fmla="*/ 115 w 694"/>
                  <a:gd name="T11" fmla="*/ 157 h 300"/>
                  <a:gd name="T12" fmla="*/ 125 w 694"/>
                  <a:gd name="T13" fmla="*/ 148 h 300"/>
                  <a:gd name="T14" fmla="*/ 137 w 694"/>
                  <a:gd name="T15" fmla="*/ 144 h 300"/>
                  <a:gd name="T16" fmla="*/ 165 w 694"/>
                  <a:gd name="T17" fmla="*/ 134 h 300"/>
                  <a:gd name="T18" fmla="*/ 191 w 694"/>
                  <a:gd name="T19" fmla="*/ 98 h 300"/>
                  <a:gd name="T20" fmla="*/ 193 w 694"/>
                  <a:gd name="T21" fmla="*/ 78 h 300"/>
                  <a:gd name="T22" fmla="*/ 214 w 694"/>
                  <a:gd name="T23" fmla="*/ 76 h 300"/>
                  <a:gd name="T24" fmla="*/ 248 w 694"/>
                  <a:gd name="T25" fmla="*/ 72 h 300"/>
                  <a:gd name="T26" fmla="*/ 661 w 694"/>
                  <a:gd name="T27" fmla="*/ 4 h 300"/>
                  <a:gd name="T28" fmla="*/ 671 w 694"/>
                  <a:gd name="T29" fmla="*/ 12 h 300"/>
                  <a:gd name="T30" fmla="*/ 683 w 694"/>
                  <a:gd name="T31" fmla="*/ 30 h 300"/>
                  <a:gd name="T32" fmla="*/ 679 w 694"/>
                  <a:gd name="T33" fmla="*/ 32 h 300"/>
                  <a:gd name="T34" fmla="*/ 667 w 694"/>
                  <a:gd name="T35" fmla="*/ 32 h 300"/>
                  <a:gd name="T36" fmla="*/ 663 w 694"/>
                  <a:gd name="T37" fmla="*/ 34 h 300"/>
                  <a:gd name="T38" fmla="*/ 639 w 694"/>
                  <a:gd name="T39" fmla="*/ 50 h 300"/>
                  <a:gd name="T40" fmla="*/ 616 w 694"/>
                  <a:gd name="T41" fmla="*/ 66 h 300"/>
                  <a:gd name="T42" fmla="*/ 624 w 694"/>
                  <a:gd name="T43" fmla="*/ 68 h 300"/>
                  <a:gd name="T44" fmla="*/ 657 w 694"/>
                  <a:gd name="T45" fmla="*/ 54 h 300"/>
                  <a:gd name="T46" fmla="*/ 669 w 694"/>
                  <a:gd name="T47" fmla="*/ 64 h 300"/>
                  <a:gd name="T48" fmla="*/ 677 w 694"/>
                  <a:gd name="T49" fmla="*/ 68 h 300"/>
                  <a:gd name="T50" fmla="*/ 691 w 694"/>
                  <a:gd name="T51" fmla="*/ 54 h 300"/>
                  <a:gd name="T52" fmla="*/ 699 w 694"/>
                  <a:gd name="T53" fmla="*/ 84 h 300"/>
                  <a:gd name="T54" fmla="*/ 687 w 694"/>
                  <a:gd name="T55" fmla="*/ 102 h 300"/>
                  <a:gd name="T56" fmla="*/ 671 w 694"/>
                  <a:gd name="T57" fmla="*/ 114 h 300"/>
                  <a:gd name="T58" fmla="*/ 647 w 694"/>
                  <a:gd name="T59" fmla="*/ 116 h 300"/>
                  <a:gd name="T60" fmla="*/ 643 w 694"/>
                  <a:gd name="T61" fmla="*/ 110 h 300"/>
                  <a:gd name="T62" fmla="*/ 637 w 694"/>
                  <a:gd name="T63" fmla="*/ 104 h 300"/>
                  <a:gd name="T64" fmla="*/ 635 w 694"/>
                  <a:gd name="T65" fmla="*/ 122 h 300"/>
                  <a:gd name="T66" fmla="*/ 643 w 694"/>
                  <a:gd name="T67" fmla="*/ 128 h 300"/>
                  <a:gd name="T68" fmla="*/ 647 w 694"/>
                  <a:gd name="T69" fmla="*/ 144 h 300"/>
                  <a:gd name="T70" fmla="*/ 618 w 694"/>
                  <a:gd name="T71" fmla="*/ 163 h 300"/>
                  <a:gd name="T72" fmla="*/ 616 w 694"/>
                  <a:gd name="T73" fmla="*/ 169 h 300"/>
                  <a:gd name="T74" fmla="*/ 657 w 694"/>
                  <a:gd name="T75" fmla="*/ 157 h 300"/>
                  <a:gd name="T76" fmla="*/ 669 w 694"/>
                  <a:gd name="T77" fmla="*/ 159 h 300"/>
                  <a:gd name="T78" fmla="*/ 637 w 694"/>
                  <a:gd name="T79" fmla="*/ 187 h 300"/>
                  <a:gd name="T80" fmla="*/ 602 w 694"/>
                  <a:gd name="T81" fmla="*/ 213 h 300"/>
                  <a:gd name="T82" fmla="*/ 596 w 694"/>
                  <a:gd name="T83" fmla="*/ 219 h 300"/>
                  <a:gd name="T84" fmla="*/ 564 w 694"/>
                  <a:gd name="T85" fmla="*/ 259 h 300"/>
                  <a:gd name="T86" fmla="*/ 546 w 694"/>
                  <a:gd name="T87" fmla="*/ 293 h 300"/>
                  <a:gd name="T88" fmla="*/ 403 w 694"/>
                  <a:gd name="T89" fmla="*/ 227 h 300"/>
                  <a:gd name="T90" fmla="*/ 294 w 694"/>
                  <a:gd name="T91" fmla="*/ 213 h 300"/>
                  <a:gd name="T92" fmla="*/ 286 w 694"/>
                  <a:gd name="T93" fmla="*/ 211 h 300"/>
                  <a:gd name="T94" fmla="*/ 175 w 694"/>
                  <a:gd name="T95" fmla="*/ 219 h 300"/>
                  <a:gd name="T96" fmla="*/ 153 w 694"/>
                  <a:gd name="T97" fmla="*/ 237 h 300"/>
                  <a:gd name="T98" fmla="*/ 0 w 694"/>
                  <a:gd name="T99" fmla="*/ 267 h 30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694" h="300">
                    <a:moveTo>
                      <a:pt x="0" y="266"/>
                    </a:moveTo>
                    <a:lnTo>
                      <a:pt x="2" y="242"/>
                    </a:lnTo>
                    <a:lnTo>
                      <a:pt x="10" y="242"/>
                    </a:lnTo>
                    <a:lnTo>
                      <a:pt x="14" y="242"/>
                    </a:lnTo>
                    <a:lnTo>
                      <a:pt x="20" y="236"/>
                    </a:lnTo>
                    <a:lnTo>
                      <a:pt x="20" y="230"/>
                    </a:lnTo>
                    <a:lnTo>
                      <a:pt x="20" y="224"/>
                    </a:lnTo>
                    <a:lnTo>
                      <a:pt x="22" y="218"/>
                    </a:lnTo>
                    <a:lnTo>
                      <a:pt x="28" y="212"/>
                    </a:lnTo>
                    <a:lnTo>
                      <a:pt x="44" y="204"/>
                    </a:lnTo>
                    <a:lnTo>
                      <a:pt x="64" y="200"/>
                    </a:lnTo>
                    <a:lnTo>
                      <a:pt x="82" y="184"/>
                    </a:lnTo>
                    <a:lnTo>
                      <a:pt x="88" y="180"/>
                    </a:lnTo>
                    <a:lnTo>
                      <a:pt x="100" y="170"/>
                    </a:lnTo>
                    <a:lnTo>
                      <a:pt x="102" y="160"/>
                    </a:lnTo>
                    <a:lnTo>
                      <a:pt x="106" y="160"/>
                    </a:lnTo>
                    <a:lnTo>
                      <a:pt x="110" y="160"/>
                    </a:lnTo>
                    <a:lnTo>
                      <a:pt x="114" y="156"/>
                    </a:lnTo>
                    <a:lnTo>
                      <a:pt x="114" y="154"/>
                    </a:lnTo>
                    <a:lnTo>
                      <a:pt x="120" y="148"/>
                    </a:lnTo>
                    <a:lnTo>
                      <a:pt x="124" y="148"/>
                    </a:lnTo>
                    <a:lnTo>
                      <a:pt x="128" y="152"/>
                    </a:lnTo>
                    <a:lnTo>
                      <a:pt x="134" y="148"/>
                    </a:lnTo>
                    <a:lnTo>
                      <a:pt x="136" y="144"/>
                    </a:lnTo>
                    <a:lnTo>
                      <a:pt x="144" y="136"/>
                    </a:lnTo>
                    <a:lnTo>
                      <a:pt x="152" y="134"/>
                    </a:lnTo>
                    <a:lnTo>
                      <a:pt x="164" y="134"/>
                    </a:lnTo>
                    <a:lnTo>
                      <a:pt x="178" y="112"/>
                    </a:lnTo>
                    <a:lnTo>
                      <a:pt x="188" y="104"/>
                    </a:lnTo>
                    <a:lnTo>
                      <a:pt x="190" y="98"/>
                    </a:lnTo>
                    <a:lnTo>
                      <a:pt x="192" y="92"/>
                    </a:lnTo>
                    <a:lnTo>
                      <a:pt x="190" y="84"/>
                    </a:lnTo>
                    <a:lnTo>
                      <a:pt x="192" y="78"/>
                    </a:lnTo>
                    <a:lnTo>
                      <a:pt x="192" y="76"/>
                    </a:lnTo>
                    <a:lnTo>
                      <a:pt x="214" y="72"/>
                    </a:lnTo>
                    <a:lnTo>
                      <a:pt x="212" y="76"/>
                    </a:lnTo>
                    <a:lnTo>
                      <a:pt x="234" y="74"/>
                    </a:lnTo>
                    <a:lnTo>
                      <a:pt x="242" y="72"/>
                    </a:lnTo>
                    <a:lnTo>
                      <a:pt x="246" y="72"/>
                    </a:lnTo>
                    <a:lnTo>
                      <a:pt x="454" y="38"/>
                    </a:lnTo>
                    <a:lnTo>
                      <a:pt x="652" y="0"/>
                    </a:lnTo>
                    <a:lnTo>
                      <a:pt x="656" y="4"/>
                    </a:lnTo>
                    <a:lnTo>
                      <a:pt x="658" y="8"/>
                    </a:lnTo>
                    <a:lnTo>
                      <a:pt x="664" y="10"/>
                    </a:lnTo>
                    <a:lnTo>
                      <a:pt x="666" y="12"/>
                    </a:lnTo>
                    <a:lnTo>
                      <a:pt x="670" y="16"/>
                    </a:lnTo>
                    <a:lnTo>
                      <a:pt x="672" y="20"/>
                    </a:lnTo>
                    <a:lnTo>
                      <a:pt x="678" y="30"/>
                    </a:lnTo>
                    <a:lnTo>
                      <a:pt x="676" y="32"/>
                    </a:lnTo>
                    <a:lnTo>
                      <a:pt x="674" y="32"/>
                    </a:lnTo>
                    <a:lnTo>
                      <a:pt x="672" y="30"/>
                    </a:lnTo>
                    <a:lnTo>
                      <a:pt x="666" y="32"/>
                    </a:lnTo>
                    <a:lnTo>
                      <a:pt x="662" y="32"/>
                    </a:lnTo>
                    <a:lnTo>
                      <a:pt x="658" y="30"/>
                    </a:lnTo>
                    <a:lnTo>
                      <a:pt x="656" y="30"/>
                    </a:lnTo>
                    <a:lnTo>
                      <a:pt x="658" y="34"/>
                    </a:lnTo>
                    <a:lnTo>
                      <a:pt x="656" y="36"/>
                    </a:lnTo>
                    <a:lnTo>
                      <a:pt x="638" y="46"/>
                    </a:lnTo>
                    <a:lnTo>
                      <a:pt x="634" y="50"/>
                    </a:lnTo>
                    <a:lnTo>
                      <a:pt x="628" y="56"/>
                    </a:lnTo>
                    <a:lnTo>
                      <a:pt x="616" y="58"/>
                    </a:lnTo>
                    <a:lnTo>
                      <a:pt x="612" y="66"/>
                    </a:lnTo>
                    <a:lnTo>
                      <a:pt x="612" y="68"/>
                    </a:lnTo>
                    <a:lnTo>
                      <a:pt x="614" y="70"/>
                    </a:lnTo>
                    <a:lnTo>
                      <a:pt x="620" y="68"/>
                    </a:lnTo>
                    <a:lnTo>
                      <a:pt x="632" y="62"/>
                    </a:lnTo>
                    <a:lnTo>
                      <a:pt x="644" y="58"/>
                    </a:lnTo>
                    <a:lnTo>
                      <a:pt x="652" y="54"/>
                    </a:lnTo>
                    <a:lnTo>
                      <a:pt x="664" y="54"/>
                    </a:lnTo>
                    <a:lnTo>
                      <a:pt x="664" y="56"/>
                    </a:lnTo>
                    <a:lnTo>
                      <a:pt x="664" y="64"/>
                    </a:lnTo>
                    <a:lnTo>
                      <a:pt x="664" y="66"/>
                    </a:lnTo>
                    <a:lnTo>
                      <a:pt x="668" y="70"/>
                    </a:lnTo>
                    <a:lnTo>
                      <a:pt x="672" y="68"/>
                    </a:lnTo>
                    <a:lnTo>
                      <a:pt x="674" y="64"/>
                    </a:lnTo>
                    <a:lnTo>
                      <a:pt x="682" y="54"/>
                    </a:lnTo>
                    <a:lnTo>
                      <a:pt x="686" y="54"/>
                    </a:lnTo>
                    <a:lnTo>
                      <a:pt x="692" y="64"/>
                    </a:lnTo>
                    <a:lnTo>
                      <a:pt x="692" y="80"/>
                    </a:lnTo>
                    <a:lnTo>
                      <a:pt x="694" y="84"/>
                    </a:lnTo>
                    <a:lnTo>
                      <a:pt x="694" y="88"/>
                    </a:lnTo>
                    <a:lnTo>
                      <a:pt x="684" y="96"/>
                    </a:lnTo>
                    <a:lnTo>
                      <a:pt x="682" y="102"/>
                    </a:lnTo>
                    <a:lnTo>
                      <a:pt x="680" y="106"/>
                    </a:lnTo>
                    <a:lnTo>
                      <a:pt x="672" y="112"/>
                    </a:lnTo>
                    <a:lnTo>
                      <a:pt x="666" y="114"/>
                    </a:lnTo>
                    <a:lnTo>
                      <a:pt x="660" y="118"/>
                    </a:lnTo>
                    <a:lnTo>
                      <a:pt x="646" y="116"/>
                    </a:lnTo>
                    <a:lnTo>
                      <a:pt x="642" y="116"/>
                    </a:lnTo>
                    <a:lnTo>
                      <a:pt x="640" y="116"/>
                    </a:lnTo>
                    <a:lnTo>
                      <a:pt x="638" y="110"/>
                    </a:lnTo>
                    <a:lnTo>
                      <a:pt x="638" y="108"/>
                    </a:lnTo>
                    <a:lnTo>
                      <a:pt x="636" y="106"/>
                    </a:lnTo>
                    <a:lnTo>
                      <a:pt x="632" y="104"/>
                    </a:lnTo>
                    <a:lnTo>
                      <a:pt x="630" y="106"/>
                    </a:lnTo>
                    <a:lnTo>
                      <a:pt x="632" y="120"/>
                    </a:lnTo>
                    <a:lnTo>
                      <a:pt x="630" y="122"/>
                    </a:lnTo>
                    <a:lnTo>
                      <a:pt x="628" y="120"/>
                    </a:lnTo>
                    <a:lnTo>
                      <a:pt x="632" y="128"/>
                    </a:lnTo>
                    <a:lnTo>
                      <a:pt x="638" y="128"/>
                    </a:lnTo>
                    <a:lnTo>
                      <a:pt x="642" y="134"/>
                    </a:lnTo>
                    <a:lnTo>
                      <a:pt x="638" y="140"/>
                    </a:lnTo>
                    <a:lnTo>
                      <a:pt x="642" y="144"/>
                    </a:lnTo>
                    <a:lnTo>
                      <a:pt x="626" y="162"/>
                    </a:lnTo>
                    <a:lnTo>
                      <a:pt x="622" y="164"/>
                    </a:lnTo>
                    <a:lnTo>
                      <a:pt x="614" y="162"/>
                    </a:lnTo>
                    <a:lnTo>
                      <a:pt x="608" y="162"/>
                    </a:lnTo>
                    <a:lnTo>
                      <a:pt x="606" y="164"/>
                    </a:lnTo>
                    <a:lnTo>
                      <a:pt x="612" y="168"/>
                    </a:lnTo>
                    <a:lnTo>
                      <a:pt x="628" y="166"/>
                    </a:lnTo>
                    <a:lnTo>
                      <a:pt x="638" y="164"/>
                    </a:lnTo>
                    <a:lnTo>
                      <a:pt x="652" y="156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64" y="158"/>
                    </a:lnTo>
                    <a:lnTo>
                      <a:pt x="658" y="170"/>
                    </a:lnTo>
                    <a:lnTo>
                      <a:pt x="646" y="184"/>
                    </a:lnTo>
                    <a:lnTo>
                      <a:pt x="632" y="186"/>
                    </a:lnTo>
                    <a:lnTo>
                      <a:pt x="628" y="188"/>
                    </a:lnTo>
                    <a:lnTo>
                      <a:pt x="612" y="190"/>
                    </a:lnTo>
                    <a:lnTo>
                      <a:pt x="598" y="212"/>
                    </a:lnTo>
                    <a:lnTo>
                      <a:pt x="592" y="214"/>
                    </a:lnTo>
                    <a:lnTo>
                      <a:pt x="592" y="218"/>
                    </a:lnTo>
                    <a:lnTo>
                      <a:pt x="576" y="228"/>
                    </a:lnTo>
                    <a:lnTo>
                      <a:pt x="568" y="240"/>
                    </a:lnTo>
                    <a:lnTo>
                      <a:pt x="560" y="258"/>
                    </a:lnTo>
                    <a:lnTo>
                      <a:pt x="556" y="282"/>
                    </a:lnTo>
                    <a:lnTo>
                      <a:pt x="552" y="288"/>
                    </a:lnTo>
                    <a:lnTo>
                      <a:pt x="542" y="292"/>
                    </a:lnTo>
                    <a:lnTo>
                      <a:pt x="510" y="296"/>
                    </a:lnTo>
                    <a:lnTo>
                      <a:pt x="508" y="300"/>
                    </a:lnTo>
                    <a:lnTo>
                      <a:pt x="400" y="226"/>
                    </a:lnTo>
                    <a:lnTo>
                      <a:pt x="312" y="238"/>
                    </a:lnTo>
                    <a:lnTo>
                      <a:pt x="310" y="226"/>
                    </a:lnTo>
                    <a:lnTo>
                      <a:pt x="292" y="212"/>
                    </a:lnTo>
                    <a:lnTo>
                      <a:pt x="286" y="218"/>
                    </a:lnTo>
                    <a:lnTo>
                      <a:pt x="282" y="214"/>
                    </a:lnTo>
                    <a:lnTo>
                      <a:pt x="284" y="210"/>
                    </a:lnTo>
                    <a:lnTo>
                      <a:pt x="282" y="208"/>
                    </a:lnTo>
                    <a:lnTo>
                      <a:pt x="178" y="220"/>
                    </a:lnTo>
                    <a:lnTo>
                      <a:pt x="174" y="218"/>
                    </a:lnTo>
                    <a:lnTo>
                      <a:pt x="172" y="222"/>
                    </a:lnTo>
                    <a:lnTo>
                      <a:pt x="152" y="232"/>
                    </a:lnTo>
                    <a:lnTo>
                      <a:pt x="152" y="236"/>
                    </a:lnTo>
                    <a:lnTo>
                      <a:pt x="144" y="236"/>
                    </a:lnTo>
                    <a:lnTo>
                      <a:pt x="120" y="248"/>
                    </a:lnTo>
                    <a:lnTo>
                      <a:pt x="0" y="26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" name="Freeform 47">
                <a:extLst>
                  <a:ext uri="{FF2B5EF4-FFF2-40B4-BE49-F238E27FC236}">
                    <a16:creationId xmlns:a16="http://schemas.microsoft.com/office/drawing/2014/main" id="{9E21D673-3294-41F4-A333-E0438C2343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39" y="1619"/>
                <a:ext cx="356" cy="351"/>
              </a:xfrm>
              <a:custGeom>
                <a:avLst/>
                <a:gdLst>
                  <a:gd name="T0" fmla="*/ 119 w 354"/>
                  <a:gd name="T1" fmla="*/ 0 h 350"/>
                  <a:gd name="T2" fmla="*/ 117 w 354"/>
                  <a:gd name="T3" fmla="*/ 16 h 350"/>
                  <a:gd name="T4" fmla="*/ 121 w 354"/>
                  <a:gd name="T5" fmla="*/ 32 h 350"/>
                  <a:gd name="T6" fmla="*/ 111 w 354"/>
                  <a:gd name="T7" fmla="*/ 76 h 350"/>
                  <a:gd name="T8" fmla="*/ 113 w 354"/>
                  <a:gd name="T9" fmla="*/ 90 h 350"/>
                  <a:gd name="T10" fmla="*/ 107 w 354"/>
                  <a:gd name="T11" fmla="*/ 108 h 350"/>
                  <a:gd name="T12" fmla="*/ 88 w 354"/>
                  <a:gd name="T13" fmla="*/ 128 h 350"/>
                  <a:gd name="T14" fmla="*/ 78 w 354"/>
                  <a:gd name="T15" fmla="*/ 134 h 350"/>
                  <a:gd name="T16" fmla="*/ 64 w 354"/>
                  <a:gd name="T17" fmla="*/ 138 h 350"/>
                  <a:gd name="T18" fmla="*/ 58 w 354"/>
                  <a:gd name="T19" fmla="*/ 150 h 350"/>
                  <a:gd name="T20" fmla="*/ 52 w 354"/>
                  <a:gd name="T21" fmla="*/ 179 h 350"/>
                  <a:gd name="T22" fmla="*/ 36 w 354"/>
                  <a:gd name="T23" fmla="*/ 177 h 350"/>
                  <a:gd name="T24" fmla="*/ 24 w 354"/>
                  <a:gd name="T25" fmla="*/ 201 h 350"/>
                  <a:gd name="T26" fmla="*/ 24 w 354"/>
                  <a:gd name="T27" fmla="*/ 223 h 350"/>
                  <a:gd name="T28" fmla="*/ 10 w 354"/>
                  <a:gd name="T29" fmla="*/ 241 h 350"/>
                  <a:gd name="T30" fmla="*/ 2 w 354"/>
                  <a:gd name="T31" fmla="*/ 255 h 350"/>
                  <a:gd name="T32" fmla="*/ 2 w 354"/>
                  <a:gd name="T33" fmla="*/ 269 h 350"/>
                  <a:gd name="T34" fmla="*/ 20 w 354"/>
                  <a:gd name="T35" fmla="*/ 295 h 350"/>
                  <a:gd name="T36" fmla="*/ 32 w 354"/>
                  <a:gd name="T37" fmla="*/ 313 h 350"/>
                  <a:gd name="T38" fmla="*/ 44 w 354"/>
                  <a:gd name="T39" fmla="*/ 315 h 350"/>
                  <a:gd name="T40" fmla="*/ 48 w 354"/>
                  <a:gd name="T41" fmla="*/ 319 h 350"/>
                  <a:gd name="T42" fmla="*/ 60 w 354"/>
                  <a:gd name="T43" fmla="*/ 323 h 350"/>
                  <a:gd name="T44" fmla="*/ 60 w 354"/>
                  <a:gd name="T45" fmla="*/ 333 h 350"/>
                  <a:gd name="T46" fmla="*/ 88 w 354"/>
                  <a:gd name="T47" fmla="*/ 351 h 350"/>
                  <a:gd name="T48" fmla="*/ 107 w 354"/>
                  <a:gd name="T49" fmla="*/ 345 h 350"/>
                  <a:gd name="T50" fmla="*/ 113 w 354"/>
                  <a:gd name="T51" fmla="*/ 335 h 350"/>
                  <a:gd name="T52" fmla="*/ 123 w 354"/>
                  <a:gd name="T53" fmla="*/ 343 h 350"/>
                  <a:gd name="T54" fmla="*/ 149 w 354"/>
                  <a:gd name="T55" fmla="*/ 333 h 350"/>
                  <a:gd name="T56" fmla="*/ 155 w 354"/>
                  <a:gd name="T57" fmla="*/ 321 h 350"/>
                  <a:gd name="T58" fmla="*/ 175 w 354"/>
                  <a:gd name="T59" fmla="*/ 311 h 350"/>
                  <a:gd name="T60" fmla="*/ 193 w 354"/>
                  <a:gd name="T61" fmla="*/ 297 h 350"/>
                  <a:gd name="T62" fmla="*/ 191 w 354"/>
                  <a:gd name="T63" fmla="*/ 279 h 350"/>
                  <a:gd name="T64" fmla="*/ 221 w 354"/>
                  <a:gd name="T65" fmla="*/ 189 h 350"/>
                  <a:gd name="T66" fmla="*/ 235 w 354"/>
                  <a:gd name="T67" fmla="*/ 195 h 350"/>
                  <a:gd name="T68" fmla="*/ 241 w 354"/>
                  <a:gd name="T69" fmla="*/ 203 h 350"/>
                  <a:gd name="T70" fmla="*/ 257 w 354"/>
                  <a:gd name="T71" fmla="*/ 191 h 350"/>
                  <a:gd name="T72" fmla="*/ 270 w 354"/>
                  <a:gd name="T73" fmla="*/ 156 h 350"/>
                  <a:gd name="T74" fmla="*/ 286 w 354"/>
                  <a:gd name="T75" fmla="*/ 146 h 350"/>
                  <a:gd name="T76" fmla="*/ 296 w 354"/>
                  <a:gd name="T77" fmla="*/ 136 h 350"/>
                  <a:gd name="T78" fmla="*/ 306 w 354"/>
                  <a:gd name="T79" fmla="*/ 120 h 350"/>
                  <a:gd name="T80" fmla="*/ 304 w 354"/>
                  <a:gd name="T81" fmla="*/ 114 h 350"/>
                  <a:gd name="T82" fmla="*/ 306 w 354"/>
                  <a:gd name="T83" fmla="*/ 90 h 350"/>
                  <a:gd name="T84" fmla="*/ 346 w 354"/>
                  <a:gd name="T85" fmla="*/ 110 h 350"/>
                  <a:gd name="T86" fmla="*/ 352 w 354"/>
                  <a:gd name="T87" fmla="*/ 110 h 350"/>
                  <a:gd name="T88" fmla="*/ 356 w 354"/>
                  <a:gd name="T89" fmla="*/ 92 h 350"/>
                  <a:gd name="T90" fmla="*/ 344 w 354"/>
                  <a:gd name="T91" fmla="*/ 72 h 350"/>
                  <a:gd name="T92" fmla="*/ 334 w 354"/>
                  <a:gd name="T93" fmla="*/ 68 h 350"/>
                  <a:gd name="T94" fmla="*/ 322 w 354"/>
                  <a:gd name="T95" fmla="*/ 64 h 350"/>
                  <a:gd name="T96" fmla="*/ 296 w 354"/>
                  <a:gd name="T97" fmla="*/ 78 h 350"/>
                  <a:gd name="T98" fmla="*/ 276 w 354"/>
                  <a:gd name="T99" fmla="*/ 80 h 350"/>
                  <a:gd name="T100" fmla="*/ 268 w 354"/>
                  <a:gd name="T101" fmla="*/ 84 h 350"/>
                  <a:gd name="T102" fmla="*/ 255 w 354"/>
                  <a:gd name="T103" fmla="*/ 96 h 350"/>
                  <a:gd name="T104" fmla="*/ 233 w 354"/>
                  <a:gd name="T105" fmla="*/ 116 h 350"/>
                  <a:gd name="T106" fmla="*/ 225 w 354"/>
                  <a:gd name="T107" fmla="*/ 126 h 350"/>
                  <a:gd name="T108" fmla="*/ 137 w 354"/>
                  <a:gd name="T109" fmla="*/ 90 h 35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354" h="350">
                    <a:moveTo>
                      <a:pt x="120" y="2"/>
                    </a:moveTo>
                    <a:lnTo>
                      <a:pt x="118" y="0"/>
                    </a:lnTo>
                    <a:lnTo>
                      <a:pt x="112" y="6"/>
                    </a:lnTo>
                    <a:lnTo>
                      <a:pt x="116" y="16"/>
                    </a:lnTo>
                    <a:lnTo>
                      <a:pt x="106" y="24"/>
                    </a:lnTo>
                    <a:lnTo>
                      <a:pt x="120" y="32"/>
                    </a:lnTo>
                    <a:lnTo>
                      <a:pt x="114" y="68"/>
                    </a:lnTo>
                    <a:lnTo>
                      <a:pt x="110" y="76"/>
                    </a:lnTo>
                    <a:lnTo>
                      <a:pt x="110" y="84"/>
                    </a:lnTo>
                    <a:lnTo>
                      <a:pt x="112" y="90"/>
                    </a:lnTo>
                    <a:lnTo>
                      <a:pt x="114" y="100"/>
                    </a:lnTo>
                    <a:lnTo>
                      <a:pt x="106" y="108"/>
                    </a:lnTo>
                    <a:lnTo>
                      <a:pt x="102" y="110"/>
                    </a:lnTo>
                    <a:lnTo>
                      <a:pt x="88" y="128"/>
                    </a:lnTo>
                    <a:lnTo>
                      <a:pt x="86" y="130"/>
                    </a:lnTo>
                    <a:lnTo>
                      <a:pt x="78" y="134"/>
                    </a:lnTo>
                    <a:lnTo>
                      <a:pt x="70" y="132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58" y="150"/>
                    </a:lnTo>
                    <a:lnTo>
                      <a:pt x="50" y="166"/>
                    </a:lnTo>
                    <a:lnTo>
                      <a:pt x="52" y="178"/>
                    </a:lnTo>
                    <a:lnTo>
                      <a:pt x="44" y="188"/>
                    </a:lnTo>
                    <a:lnTo>
                      <a:pt x="36" y="176"/>
                    </a:lnTo>
                    <a:lnTo>
                      <a:pt x="30" y="176"/>
                    </a:lnTo>
                    <a:lnTo>
                      <a:pt x="24" y="200"/>
                    </a:lnTo>
                    <a:lnTo>
                      <a:pt x="24" y="212"/>
                    </a:lnTo>
                    <a:lnTo>
                      <a:pt x="24" y="222"/>
                    </a:lnTo>
                    <a:lnTo>
                      <a:pt x="18" y="226"/>
                    </a:lnTo>
                    <a:lnTo>
                      <a:pt x="10" y="240"/>
                    </a:lnTo>
                    <a:lnTo>
                      <a:pt x="0" y="240"/>
                    </a:lnTo>
                    <a:lnTo>
                      <a:pt x="2" y="254"/>
                    </a:lnTo>
                    <a:lnTo>
                      <a:pt x="2" y="262"/>
                    </a:lnTo>
                    <a:lnTo>
                      <a:pt x="2" y="268"/>
                    </a:lnTo>
                    <a:lnTo>
                      <a:pt x="4" y="274"/>
                    </a:lnTo>
                    <a:lnTo>
                      <a:pt x="20" y="294"/>
                    </a:lnTo>
                    <a:lnTo>
                      <a:pt x="30" y="310"/>
                    </a:lnTo>
                    <a:lnTo>
                      <a:pt x="32" y="312"/>
                    </a:lnTo>
                    <a:lnTo>
                      <a:pt x="36" y="312"/>
                    </a:lnTo>
                    <a:lnTo>
                      <a:pt x="44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54" y="322"/>
                    </a:lnTo>
                    <a:lnTo>
                      <a:pt x="60" y="322"/>
                    </a:lnTo>
                    <a:lnTo>
                      <a:pt x="62" y="324"/>
                    </a:lnTo>
                    <a:lnTo>
                      <a:pt x="60" y="332"/>
                    </a:lnTo>
                    <a:lnTo>
                      <a:pt x="70" y="344"/>
                    </a:lnTo>
                    <a:lnTo>
                      <a:pt x="88" y="350"/>
                    </a:lnTo>
                    <a:lnTo>
                      <a:pt x="96" y="350"/>
                    </a:lnTo>
                    <a:lnTo>
                      <a:pt x="106" y="344"/>
                    </a:lnTo>
                    <a:lnTo>
                      <a:pt x="106" y="338"/>
                    </a:lnTo>
                    <a:lnTo>
                      <a:pt x="112" y="334"/>
                    </a:lnTo>
                    <a:lnTo>
                      <a:pt x="120" y="340"/>
                    </a:lnTo>
                    <a:lnTo>
                      <a:pt x="122" y="342"/>
                    </a:lnTo>
                    <a:lnTo>
                      <a:pt x="128" y="340"/>
                    </a:lnTo>
                    <a:lnTo>
                      <a:pt x="148" y="332"/>
                    </a:lnTo>
                    <a:lnTo>
                      <a:pt x="152" y="320"/>
                    </a:lnTo>
                    <a:lnTo>
                      <a:pt x="154" y="320"/>
                    </a:lnTo>
                    <a:lnTo>
                      <a:pt x="158" y="324"/>
                    </a:lnTo>
                    <a:lnTo>
                      <a:pt x="174" y="310"/>
                    </a:lnTo>
                    <a:lnTo>
                      <a:pt x="180" y="314"/>
                    </a:lnTo>
                    <a:lnTo>
                      <a:pt x="192" y="296"/>
                    </a:lnTo>
                    <a:lnTo>
                      <a:pt x="188" y="290"/>
                    </a:lnTo>
                    <a:lnTo>
                      <a:pt x="190" y="278"/>
                    </a:lnTo>
                    <a:lnTo>
                      <a:pt x="204" y="254"/>
                    </a:lnTo>
                    <a:lnTo>
                      <a:pt x="220" y="188"/>
                    </a:lnTo>
                    <a:lnTo>
                      <a:pt x="224" y="188"/>
                    </a:lnTo>
                    <a:lnTo>
                      <a:pt x="234" y="194"/>
                    </a:lnTo>
                    <a:lnTo>
                      <a:pt x="234" y="198"/>
                    </a:lnTo>
                    <a:lnTo>
                      <a:pt x="240" y="202"/>
                    </a:lnTo>
                    <a:lnTo>
                      <a:pt x="250" y="200"/>
                    </a:lnTo>
                    <a:lnTo>
                      <a:pt x="256" y="190"/>
                    </a:lnTo>
                    <a:lnTo>
                      <a:pt x="262" y="164"/>
                    </a:lnTo>
                    <a:lnTo>
                      <a:pt x="268" y="156"/>
                    </a:lnTo>
                    <a:lnTo>
                      <a:pt x="278" y="160"/>
                    </a:lnTo>
                    <a:lnTo>
                      <a:pt x="284" y="146"/>
                    </a:lnTo>
                    <a:lnTo>
                      <a:pt x="290" y="142"/>
                    </a:lnTo>
                    <a:lnTo>
                      <a:pt x="294" y="136"/>
                    </a:lnTo>
                    <a:lnTo>
                      <a:pt x="300" y="122"/>
                    </a:lnTo>
                    <a:lnTo>
                      <a:pt x="304" y="120"/>
                    </a:lnTo>
                    <a:lnTo>
                      <a:pt x="304" y="116"/>
                    </a:lnTo>
                    <a:lnTo>
                      <a:pt x="302" y="114"/>
                    </a:lnTo>
                    <a:lnTo>
                      <a:pt x="302" y="94"/>
                    </a:lnTo>
                    <a:lnTo>
                      <a:pt x="304" y="90"/>
                    </a:lnTo>
                    <a:lnTo>
                      <a:pt x="308" y="88"/>
                    </a:lnTo>
                    <a:lnTo>
                      <a:pt x="344" y="110"/>
                    </a:lnTo>
                    <a:lnTo>
                      <a:pt x="348" y="112"/>
                    </a:lnTo>
                    <a:lnTo>
                      <a:pt x="350" y="110"/>
                    </a:lnTo>
                    <a:lnTo>
                      <a:pt x="354" y="92"/>
                    </a:lnTo>
                    <a:lnTo>
                      <a:pt x="346" y="74"/>
                    </a:lnTo>
                    <a:lnTo>
                      <a:pt x="342" y="72"/>
                    </a:lnTo>
                    <a:lnTo>
                      <a:pt x="340" y="64"/>
                    </a:lnTo>
                    <a:lnTo>
                      <a:pt x="332" y="68"/>
                    </a:lnTo>
                    <a:lnTo>
                      <a:pt x="326" y="66"/>
                    </a:lnTo>
                    <a:lnTo>
                      <a:pt x="320" y="64"/>
                    </a:lnTo>
                    <a:lnTo>
                      <a:pt x="296" y="72"/>
                    </a:lnTo>
                    <a:lnTo>
                      <a:pt x="294" y="78"/>
                    </a:lnTo>
                    <a:lnTo>
                      <a:pt x="284" y="82"/>
                    </a:lnTo>
                    <a:lnTo>
                      <a:pt x="274" y="80"/>
                    </a:lnTo>
                    <a:lnTo>
                      <a:pt x="270" y="74"/>
                    </a:lnTo>
                    <a:lnTo>
                      <a:pt x="266" y="84"/>
                    </a:lnTo>
                    <a:lnTo>
                      <a:pt x="260" y="88"/>
                    </a:lnTo>
                    <a:lnTo>
                      <a:pt x="254" y="96"/>
                    </a:lnTo>
                    <a:lnTo>
                      <a:pt x="248" y="98"/>
                    </a:lnTo>
                    <a:lnTo>
                      <a:pt x="232" y="116"/>
                    </a:lnTo>
                    <a:lnTo>
                      <a:pt x="228" y="118"/>
                    </a:lnTo>
                    <a:lnTo>
                      <a:pt x="224" y="126"/>
                    </a:lnTo>
                    <a:lnTo>
                      <a:pt x="212" y="74"/>
                    </a:lnTo>
                    <a:lnTo>
                      <a:pt x="136" y="90"/>
                    </a:lnTo>
                    <a:lnTo>
                      <a:pt x="120" y="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Freeform 48">
                <a:extLst>
                  <a:ext uri="{FF2B5EF4-FFF2-40B4-BE49-F238E27FC236}">
                    <a16:creationId xmlns:a16="http://schemas.microsoft.com/office/drawing/2014/main" id="{22AF93FB-6121-44A8-86BE-CD5F729B0C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7" y="1278"/>
                <a:ext cx="633" cy="1080"/>
              </a:xfrm>
              <a:custGeom>
                <a:avLst/>
                <a:gdLst>
                  <a:gd name="T0" fmla="*/ 358 w 630"/>
                  <a:gd name="T1" fmla="*/ 1054 h 1076"/>
                  <a:gd name="T2" fmla="*/ 360 w 630"/>
                  <a:gd name="T3" fmla="*/ 1038 h 1076"/>
                  <a:gd name="T4" fmla="*/ 352 w 630"/>
                  <a:gd name="T5" fmla="*/ 1026 h 1076"/>
                  <a:gd name="T6" fmla="*/ 336 w 630"/>
                  <a:gd name="T7" fmla="*/ 956 h 1076"/>
                  <a:gd name="T8" fmla="*/ 297 w 630"/>
                  <a:gd name="T9" fmla="*/ 915 h 1076"/>
                  <a:gd name="T10" fmla="*/ 283 w 630"/>
                  <a:gd name="T11" fmla="*/ 899 h 1076"/>
                  <a:gd name="T12" fmla="*/ 275 w 630"/>
                  <a:gd name="T13" fmla="*/ 879 h 1076"/>
                  <a:gd name="T14" fmla="*/ 229 w 630"/>
                  <a:gd name="T15" fmla="*/ 861 h 1076"/>
                  <a:gd name="T16" fmla="*/ 195 w 630"/>
                  <a:gd name="T17" fmla="*/ 825 h 1076"/>
                  <a:gd name="T18" fmla="*/ 133 w 630"/>
                  <a:gd name="T19" fmla="*/ 801 h 1076"/>
                  <a:gd name="T20" fmla="*/ 129 w 630"/>
                  <a:gd name="T21" fmla="*/ 777 h 1076"/>
                  <a:gd name="T22" fmla="*/ 137 w 630"/>
                  <a:gd name="T23" fmla="*/ 743 h 1076"/>
                  <a:gd name="T24" fmla="*/ 125 w 630"/>
                  <a:gd name="T25" fmla="*/ 715 h 1076"/>
                  <a:gd name="T26" fmla="*/ 129 w 630"/>
                  <a:gd name="T27" fmla="*/ 703 h 1076"/>
                  <a:gd name="T28" fmla="*/ 94 w 630"/>
                  <a:gd name="T29" fmla="*/ 640 h 1076"/>
                  <a:gd name="T30" fmla="*/ 70 w 630"/>
                  <a:gd name="T31" fmla="*/ 596 h 1076"/>
                  <a:gd name="T32" fmla="*/ 82 w 630"/>
                  <a:gd name="T33" fmla="*/ 566 h 1076"/>
                  <a:gd name="T34" fmla="*/ 86 w 630"/>
                  <a:gd name="T35" fmla="*/ 534 h 1076"/>
                  <a:gd name="T36" fmla="*/ 56 w 630"/>
                  <a:gd name="T37" fmla="*/ 504 h 1076"/>
                  <a:gd name="T38" fmla="*/ 58 w 630"/>
                  <a:gd name="T39" fmla="*/ 458 h 1076"/>
                  <a:gd name="T40" fmla="*/ 68 w 630"/>
                  <a:gd name="T41" fmla="*/ 440 h 1076"/>
                  <a:gd name="T42" fmla="*/ 72 w 630"/>
                  <a:gd name="T43" fmla="*/ 462 h 1076"/>
                  <a:gd name="T44" fmla="*/ 88 w 630"/>
                  <a:gd name="T45" fmla="*/ 458 h 1076"/>
                  <a:gd name="T46" fmla="*/ 82 w 630"/>
                  <a:gd name="T47" fmla="*/ 416 h 1076"/>
                  <a:gd name="T48" fmla="*/ 70 w 630"/>
                  <a:gd name="T49" fmla="*/ 428 h 1076"/>
                  <a:gd name="T50" fmla="*/ 46 w 630"/>
                  <a:gd name="T51" fmla="*/ 414 h 1076"/>
                  <a:gd name="T52" fmla="*/ 38 w 630"/>
                  <a:gd name="T53" fmla="*/ 397 h 1076"/>
                  <a:gd name="T54" fmla="*/ 18 w 630"/>
                  <a:gd name="T55" fmla="*/ 331 h 1076"/>
                  <a:gd name="T56" fmla="*/ 10 w 630"/>
                  <a:gd name="T57" fmla="*/ 281 h 1076"/>
                  <a:gd name="T58" fmla="*/ 22 w 630"/>
                  <a:gd name="T59" fmla="*/ 241 h 1076"/>
                  <a:gd name="T60" fmla="*/ 12 w 630"/>
                  <a:gd name="T61" fmla="*/ 193 h 1076"/>
                  <a:gd name="T62" fmla="*/ 4 w 630"/>
                  <a:gd name="T63" fmla="*/ 177 h 1076"/>
                  <a:gd name="T64" fmla="*/ 2 w 630"/>
                  <a:gd name="T65" fmla="*/ 151 h 1076"/>
                  <a:gd name="T66" fmla="*/ 40 w 630"/>
                  <a:gd name="T67" fmla="*/ 94 h 1076"/>
                  <a:gd name="T68" fmla="*/ 48 w 630"/>
                  <a:gd name="T69" fmla="*/ 70 h 1076"/>
                  <a:gd name="T70" fmla="*/ 50 w 630"/>
                  <a:gd name="T71" fmla="*/ 18 h 1076"/>
                  <a:gd name="T72" fmla="*/ 358 w 630"/>
                  <a:gd name="T73" fmla="*/ 80 h 1076"/>
                  <a:gd name="T74" fmla="*/ 609 w 630"/>
                  <a:gd name="T75" fmla="*/ 869 h 1076"/>
                  <a:gd name="T76" fmla="*/ 615 w 630"/>
                  <a:gd name="T77" fmla="*/ 891 h 1076"/>
                  <a:gd name="T78" fmla="*/ 621 w 630"/>
                  <a:gd name="T79" fmla="*/ 919 h 1076"/>
                  <a:gd name="T80" fmla="*/ 633 w 630"/>
                  <a:gd name="T81" fmla="*/ 937 h 1076"/>
                  <a:gd name="T82" fmla="*/ 619 w 630"/>
                  <a:gd name="T83" fmla="*/ 948 h 1076"/>
                  <a:gd name="T84" fmla="*/ 591 w 630"/>
                  <a:gd name="T85" fmla="*/ 990 h 1076"/>
                  <a:gd name="T86" fmla="*/ 567 w 630"/>
                  <a:gd name="T87" fmla="*/ 1016 h 1076"/>
                  <a:gd name="T88" fmla="*/ 565 w 630"/>
                  <a:gd name="T89" fmla="*/ 1042 h 1076"/>
                  <a:gd name="T90" fmla="*/ 581 w 630"/>
                  <a:gd name="T91" fmla="*/ 1062 h 1076"/>
                  <a:gd name="T92" fmla="*/ 569 w 630"/>
                  <a:gd name="T93" fmla="*/ 1080 h 107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30" h="1076">
                    <a:moveTo>
                      <a:pt x="548" y="1072"/>
                    </a:moveTo>
                    <a:lnTo>
                      <a:pt x="358" y="1052"/>
                    </a:lnTo>
                    <a:lnTo>
                      <a:pt x="356" y="1050"/>
                    </a:lnTo>
                    <a:lnTo>
                      <a:pt x="354" y="1040"/>
                    </a:lnTo>
                    <a:lnTo>
                      <a:pt x="356" y="1036"/>
                    </a:lnTo>
                    <a:lnTo>
                      <a:pt x="358" y="1034"/>
                    </a:lnTo>
                    <a:lnTo>
                      <a:pt x="356" y="1032"/>
                    </a:lnTo>
                    <a:lnTo>
                      <a:pt x="352" y="1030"/>
                    </a:lnTo>
                    <a:lnTo>
                      <a:pt x="350" y="1022"/>
                    </a:lnTo>
                    <a:lnTo>
                      <a:pt x="352" y="1020"/>
                    </a:lnTo>
                    <a:lnTo>
                      <a:pt x="350" y="988"/>
                    </a:lnTo>
                    <a:lnTo>
                      <a:pt x="334" y="952"/>
                    </a:lnTo>
                    <a:lnTo>
                      <a:pt x="324" y="942"/>
                    </a:lnTo>
                    <a:lnTo>
                      <a:pt x="316" y="928"/>
                    </a:lnTo>
                    <a:lnTo>
                      <a:pt x="296" y="912"/>
                    </a:lnTo>
                    <a:lnTo>
                      <a:pt x="284" y="912"/>
                    </a:lnTo>
                    <a:lnTo>
                      <a:pt x="278" y="906"/>
                    </a:lnTo>
                    <a:lnTo>
                      <a:pt x="282" y="896"/>
                    </a:lnTo>
                    <a:lnTo>
                      <a:pt x="280" y="890"/>
                    </a:lnTo>
                    <a:lnTo>
                      <a:pt x="280" y="884"/>
                    </a:lnTo>
                    <a:lnTo>
                      <a:pt x="274" y="876"/>
                    </a:lnTo>
                    <a:lnTo>
                      <a:pt x="254" y="874"/>
                    </a:lnTo>
                    <a:lnTo>
                      <a:pt x="242" y="870"/>
                    </a:lnTo>
                    <a:lnTo>
                      <a:pt x="228" y="858"/>
                    </a:lnTo>
                    <a:lnTo>
                      <a:pt x="220" y="836"/>
                    </a:lnTo>
                    <a:lnTo>
                      <a:pt x="208" y="826"/>
                    </a:lnTo>
                    <a:lnTo>
                      <a:pt x="194" y="822"/>
                    </a:lnTo>
                    <a:lnTo>
                      <a:pt x="158" y="806"/>
                    </a:lnTo>
                    <a:lnTo>
                      <a:pt x="148" y="806"/>
                    </a:lnTo>
                    <a:lnTo>
                      <a:pt x="132" y="798"/>
                    </a:lnTo>
                    <a:lnTo>
                      <a:pt x="124" y="788"/>
                    </a:lnTo>
                    <a:lnTo>
                      <a:pt x="124" y="780"/>
                    </a:lnTo>
                    <a:lnTo>
                      <a:pt x="128" y="774"/>
                    </a:lnTo>
                    <a:lnTo>
                      <a:pt x="132" y="756"/>
                    </a:lnTo>
                    <a:lnTo>
                      <a:pt x="134" y="746"/>
                    </a:lnTo>
                    <a:lnTo>
                      <a:pt x="136" y="740"/>
                    </a:lnTo>
                    <a:lnTo>
                      <a:pt x="134" y="728"/>
                    </a:lnTo>
                    <a:lnTo>
                      <a:pt x="124" y="724"/>
                    </a:lnTo>
                    <a:lnTo>
                      <a:pt x="124" y="712"/>
                    </a:lnTo>
                    <a:lnTo>
                      <a:pt x="126" y="710"/>
                    </a:lnTo>
                    <a:lnTo>
                      <a:pt x="128" y="710"/>
                    </a:lnTo>
                    <a:lnTo>
                      <a:pt x="128" y="700"/>
                    </a:lnTo>
                    <a:lnTo>
                      <a:pt x="118" y="692"/>
                    </a:lnTo>
                    <a:lnTo>
                      <a:pt x="96" y="650"/>
                    </a:lnTo>
                    <a:lnTo>
                      <a:pt x="94" y="638"/>
                    </a:lnTo>
                    <a:lnTo>
                      <a:pt x="90" y="628"/>
                    </a:lnTo>
                    <a:lnTo>
                      <a:pt x="88" y="620"/>
                    </a:lnTo>
                    <a:lnTo>
                      <a:pt x="70" y="594"/>
                    </a:lnTo>
                    <a:lnTo>
                      <a:pt x="72" y="570"/>
                    </a:lnTo>
                    <a:lnTo>
                      <a:pt x="76" y="564"/>
                    </a:lnTo>
                    <a:lnTo>
                      <a:pt x="82" y="564"/>
                    </a:lnTo>
                    <a:lnTo>
                      <a:pt x="90" y="554"/>
                    </a:lnTo>
                    <a:lnTo>
                      <a:pt x="92" y="536"/>
                    </a:lnTo>
                    <a:lnTo>
                      <a:pt x="86" y="532"/>
                    </a:lnTo>
                    <a:lnTo>
                      <a:pt x="74" y="526"/>
                    </a:lnTo>
                    <a:lnTo>
                      <a:pt x="60" y="514"/>
                    </a:lnTo>
                    <a:lnTo>
                      <a:pt x="56" y="502"/>
                    </a:lnTo>
                    <a:lnTo>
                      <a:pt x="56" y="470"/>
                    </a:lnTo>
                    <a:lnTo>
                      <a:pt x="60" y="466"/>
                    </a:lnTo>
                    <a:lnTo>
                      <a:pt x="58" y="456"/>
                    </a:lnTo>
                    <a:lnTo>
                      <a:pt x="62" y="454"/>
                    </a:lnTo>
                    <a:lnTo>
                      <a:pt x="64" y="438"/>
                    </a:lnTo>
                    <a:lnTo>
                      <a:pt x="68" y="438"/>
                    </a:lnTo>
                    <a:lnTo>
                      <a:pt x="70" y="444"/>
                    </a:lnTo>
                    <a:lnTo>
                      <a:pt x="70" y="456"/>
                    </a:lnTo>
                    <a:lnTo>
                      <a:pt x="72" y="460"/>
                    </a:lnTo>
                    <a:lnTo>
                      <a:pt x="84" y="468"/>
                    </a:lnTo>
                    <a:lnTo>
                      <a:pt x="86" y="466"/>
                    </a:lnTo>
                    <a:lnTo>
                      <a:pt x="88" y="456"/>
                    </a:lnTo>
                    <a:lnTo>
                      <a:pt x="82" y="438"/>
                    </a:lnTo>
                    <a:lnTo>
                      <a:pt x="80" y="428"/>
                    </a:lnTo>
                    <a:lnTo>
                      <a:pt x="82" y="414"/>
                    </a:lnTo>
                    <a:lnTo>
                      <a:pt x="78" y="412"/>
                    </a:lnTo>
                    <a:lnTo>
                      <a:pt x="70" y="422"/>
                    </a:lnTo>
                    <a:lnTo>
                      <a:pt x="70" y="426"/>
                    </a:lnTo>
                    <a:lnTo>
                      <a:pt x="68" y="432"/>
                    </a:lnTo>
                    <a:lnTo>
                      <a:pt x="56" y="428"/>
                    </a:lnTo>
                    <a:lnTo>
                      <a:pt x="46" y="412"/>
                    </a:lnTo>
                    <a:lnTo>
                      <a:pt x="34" y="406"/>
                    </a:lnTo>
                    <a:lnTo>
                      <a:pt x="38" y="396"/>
                    </a:lnTo>
                    <a:lnTo>
                      <a:pt x="38" y="360"/>
                    </a:lnTo>
                    <a:lnTo>
                      <a:pt x="24" y="342"/>
                    </a:lnTo>
                    <a:lnTo>
                      <a:pt x="18" y="330"/>
                    </a:lnTo>
                    <a:lnTo>
                      <a:pt x="6" y="300"/>
                    </a:lnTo>
                    <a:lnTo>
                      <a:pt x="12" y="290"/>
                    </a:lnTo>
                    <a:lnTo>
                      <a:pt x="10" y="280"/>
                    </a:lnTo>
                    <a:lnTo>
                      <a:pt x="8" y="272"/>
                    </a:lnTo>
                    <a:lnTo>
                      <a:pt x="14" y="250"/>
                    </a:lnTo>
                    <a:lnTo>
                      <a:pt x="22" y="240"/>
                    </a:lnTo>
                    <a:lnTo>
                      <a:pt x="22" y="234"/>
                    </a:lnTo>
                    <a:lnTo>
                      <a:pt x="22" y="212"/>
                    </a:lnTo>
                    <a:lnTo>
                      <a:pt x="12" y="192"/>
                    </a:lnTo>
                    <a:lnTo>
                      <a:pt x="12" y="188"/>
                    </a:lnTo>
                    <a:lnTo>
                      <a:pt x="8" y="182"/>
                    </a:lnTo>
                    <a:lnTo>
                      <a:pt x="4" y="176"/>
                    </a:lnTo>
                    <a:lnTo>
                      <a:pt x="0" y="166"/>
                    </a:lnTo>
                    <a:lnTo>
                      <a:pt x="0" y="154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12" y="124"/>
                    </a:lnTo>
                    <a:lnTo>
                      <a:pt x="40" y="94"/>
                    </a:lnTo>
                    <a:lnTo>
                      <a:pt x="40" y="86"/>
                    </a:lnTo>
                    <a:lnTo>
                      <a:pt x="42" y="76"/>
                    </a:lnTo>
                    <a:lnTo>
                      <a:pt x="48" y="70"/>
                    </a:lnTo>
                    <a:lnTo>
                      <a:pt x="54" y="58"/>
                    </a:lnTo>
                    <a:lnTo>
                      <a:pt x="58" y="30"/>
                    </a:lnTo>
                    <a:lnTo>
                      <a:pt x="50" y="18"/>
                    </a:lnTo>
                    <a:lnTo>
                      <a:pt x="58" y="4"/>
                    </a:lnTo>
                    <a:lnTo>
                      <a:pt x="60" y="0"/>
                    </a:lnTo>
                    <a:lnTo>
                      <a:pt x="356" y="80"/>
                    </a:lnTo>
                    <a:lnTo>
                      <a:pt x="282" y="374"/>
                    </a:lnTo>
                    <a:lnTo>
                      <a:pt x="606" y="852"/>
                    </a:lnTo>
                    <a:lnTo>
                      <a:pt x="606" y="866"/>
                    </a:lnTo>
                    <a:lnTo>
                      <a:pt x="608" y="872"/>
                    </a:lnTo>
                    <a:lnTo>
                      <a:pt x="606" y="876"/>
                    </a:lnTo>
                    <a:lnTo>
                      <a:pt x="612" y="888"/>
                    </a:lnTo>
                    <a:lnTo>
                      <a:pt x="612" y="898"/>
                    </a:lnTo>
                    <a:lnTo>
                      <a:pt x="616" y="904"/>
                    </a:lnTo>
                    <a:lnTo>
                      <a:pt x="618" y="916"/>
                    </a:lnTo>
                    <a:lnTo>
                      <a:pt x="624" y="920"/>
                    </a:lnTo>
                    <a:lnTo>
                      <a:pt x="628" y="926"/>
                    </a:lnTo>
                    <a:lnTo>
                      <a:pt x="630" y="934"/>
                    </a:lnTo>
                    <a:lnTo>
                      <a:pt x="628" y="938"/>
                    </a:lnTo>
                    <a:lnTo>
                      <a:pt x="626" y="936"/>
                    </a:lnTo>
                    <a:lnTo>
                      <a:pt x="616" y="944"/>
                    </a:lnTo>
                    <a:lnTo>
                      <a:pt x="604" y="948"/>
                    </a:lnTo>
                    <a:lnTo>
                      <a:pt x="594" y="960"/>
                    </a:lnTo>
                    <a:lnTo>
                      <a:pt x="588" y="986"/>
                    </a:lnTo>
                    <a:lnTo>
                      <a:pt x="572" y="1006"/>
                    </a:lnTo>
                    <a:lnTo>
                      <a:pt x="564" y="1006"/>
                    </a:lnTo>
                    <a:lnTo>
                      <a:pt x="564" y="1012"/>
                    </a:lnTo>
                    <a:lnTo>
                      <a:pt x="566" y="1020"/>
                    </a:lnTo>
                    <a:lnTo>
                      <a:pt x="566" y="1026"/>
                    </a:lnTo>
                    <a:lnTo>
                      <a:pt x="562" y="1038"/>
                    </a:lnTo>
                    <a:lnTo>
                      <a:pt x="564" y="1044"/>
                    </a:lnTo>
                    <a:lnTo>
                      <a:pt x="576" y="1052"/>
                    </a:lnTo>
                    <a:lnTo>
                      <a:pt x="578" y="1058"/>
                    </a:lnTo>
                    <a:lnTo>
                      <a:pt x="574" y="1062"/>
                    </a:lnTo>
                    <a:lnTo>
                      <a:pt x="572" y="1068"/>
                    </a:lnTo>
                    <a:lnTo>
                      <a:pt x="566" y="1076"/>
                    </a:lnTo>
                    <a:lnTo>
                      <a:pt x="562" y="1074"/>
                    </a:lnTo>
                    <a:lnTo>
                      <a:pt x="548" y="107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" name="Freeform 58">
                <a:extLst>
                  <a:ext uri="{FF2B5EF4-FFF2-40B4-BE49-F238E27FC236}">
                    <a16:creationId xmlns:a16="http://schemas.microsoft.com/office/drawing/2014/main" id="{A3F38FDA-13F8-4522-951F-E5846A947D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3" y="1640"/>
                <a:ext cx="364" cy="177"/>
              </a:xfrm>
              <a:custGeom>
                <a:avLst/>
                <a:gdLst>
                  <a:gd name="T0" fmla="*/ 209 w 362"/>
                  <a:gd name="T1" fmla="*/ 12 h 174"/>
                  <a:gd name="T2" fmla="*/ 12 w 362"/>
                  <a:gd name="T3" fmla="*/ 106 h 174"/>
                  <a:gd name="T4" fmla="*/ 20 w 362"/>
                  <a:gd name="T5" fmla="*/ 96 h 174"/>
                  <a:gd name="T6" fmla="*/ 42 w 362"/>
                  <a:gd name="T7" fmla="*/ 75 h 174"/>
                  <a:gd name="T8" fmla="*/ 54 w 362"/>
                  <a:gd name="T9" fmla="*/ 63 h 174"/>
                  <a:gd name="T10" fmla="*/ 62 w 362"/>
                  <a:gd name="T11" fmla="*/ 59 h 174"/>
                  <a:gd name="T12" fmla="*/ 82 w 362"/>
                  <a:gd name="T13" fmla="*/ 57 h 174"/>
                  <a:gd name="T14" fmla="*/ 109 w 362"/>
                  <a:gd name="T15" fmla="*/ 43 h 174"/>
                  <a:gd name="T16" fmla="*/ 121 w 362"/>
                  <a:gd name="T17" fmla="*/ 47 h 174"/>
                  <a:gd name="T18" fmla="*/ 131 w 362"/>
                  <a:gd name="T19" fmla="*/ 51 h 174"/>
                  <a:gd name="T20" fmla="*/ 143 w 362"/>
                  <a:gd name="T21" fmla="*/ 71 h 174"/>
                  <a:gd name="T22" fmla="*/ 149 w 362"/>
                  <a:gd name="T23" fmla="*/ 69 h 174"/>
                  <a:gd name="T24" fmla="*/ 163 w 362"/>
                  <a:gd name="T25" fmla="*/ 75 h 174"/>
                  <a:gd name="T26" fmla="*/ 167 w 362"/>
                  <a:gd name="T27" fmla="*/ 94 h 174"/>
                  <a:gd name="T28" fmla="*/ 189 w 362"/>
                  <a:gd name="T29" fmla="*/ 100 h 174"/>
                  <a:gd name="T30" fmla="*/ 205 w 362"/>
                  <a:gd name="T31" fmla="*/ 112 h 174"/>
                  <a:gd name="T32" fmla="*/ 193 w 362"/>
                  <a:gd name="T33" fmla="*/ 134 h 174"/>
                  <a:gd name="T34" fmla="*/ 189 w 362"/>
                  <a:gd name="T35" fmla="*/ 161 h 174"/>
                  <a:gd name="T36" fmla="*/ 211 w 362"/>
                  <a:gd name="T37" fmla="*/ 155 h 174"/>
                  <a:gd name="T38" fmla="*/ 225 w 362"/>
                  <a:gd name="T39" fmla="*/ 167 h 174"/>
                  <a:gd name="T40" fmla="*/ 233 w 362"/>
                  <a:gd name="T41" fmla="*/ 163 h 174"/>
                  <a:gd name="T42" fmla="*/ 263 w 362"/>
                  <a:gd name="T43" fmla="*/ 169 h 174"/>
                  <a:gd name="T44" fmla="*/ 274 w 362"/>
                  <a:gd name="T45" fmla="*/ 173 h 174"/>
                  <a:gd name="T46" fmla="*/ 269 w 362"/>
                  <a:gd name="T47" fmla="*/ 165 h 174"/>
                  <a:gd name="T48" fmla="*/ 257 w 362"/>
                  <a:gd name="T49" fmla="*/ 151 h 174"/>
                  <a:gd name="T50" fmla="*/ 257 w 362"/>
                  <a:gd name="T51" fmla="*/ 146 h 174"/>
                  <a:gd name="T52" fmla="*/ 261 w 362"/>
                  <a:gd name="T53" fmla="*/ 142 h 174"/>
                  <a:gd name="T54" fmla="*/ 247 w 362"/>
                  <a:gd name="T55" fmla="*/ 128 h 174"/>
                  <a:gd name="T56" fmla="*/ 239 w 362"/>
                  <a:gd name="T57" fmla="*/ 106 h 174"/>
                  <a:gd name="T58" fmla="*/ 241 w 362"/>
                  <a:gd name="T59" fmla="*/ 75 h 174"/>
                  <a:gd name="T60" fmla="*/ 237 w 362"/>
                  <a:gd name="T61" fmla="*/ 69 h 174"/>
                  <a:gd name="T62" fmla="*/ 239 w 362"/>
                  <a:gd name="T63" fmla="*/ 59 h 174"/>
                  <a:gd name="T64" fmla="*/ 243 w 362"/>
                  <a:gd name="T65" fmla="*/ 49 h 174"/>
                  <a:gd name="T66" fmla="*/ 259 w 362"/>
                  <a:gd name="T67" fmla="*/ 37 h 174"/>
                  <a:gd name="T68" fmla="*/ 271 w 362"/>
                  <a:gd name="T69" fmla="*/ 22 h 174"/>
                  <a:gd name="T70" fmla="*/ 267 w 362"/>
                  <a:gd name="T71" fmla="*/ 39 h 174"/>
                  <a:gd name="T72" fmla="*/ 257 w 362"/>
                  <a:gd name="T73" fmla="*/ 53 h 174"/>
                  <a:gd name="T74" fmla="*/ 259 w 362"/>
                  <a:gd name="T75" fmla="*/ 71 h 174"/>
                  <a:gd name="T76" fmla="*/ 269 w 362"/>
                  <a:gd name="T77" fmla="*/ 92 h 174"/>
                  <a:gd name="T78" fmla="*/ 257 w 362"/>
                  <a:gd name="T79" fmla="*/ 102 h 174"/>
                  <a:gd name="T80" fmla="*/ 267 w 362"/>
                  <a:gd name="T81" fmla="*/ 108 h 174"/>
                  <a:gd name="T82" fmla="*/ 267 w 362"/>
                  <a:gd name="T83" fmla="*/ 120 h 174"/>
                  <a:gd name="T84" fmla="*/ 269 w 362"/>
                  <a:gd name="T85" fmla="*/ 130 h 174"/>
                  <a:gd name="T86" fmla="*/ 286 w 362"/>
                  <a:gd name="T87" fmla="*/ 151 h 174"/>
                  <a:gd name="T88" fmla="*/ 294 w 362"/>
                  <a:gd name="T89" fmla="*/ 146 h 174"/>
                  <a:gd name="T90" fmla="*/ 304 w 362"/>
                  <a:gd name="T91" fmla="*/ 149 h 174"/>
                  <a:gd name="T92" fmla="*/ 308 w 362"/>
                  <a:gd name="T93" fmla="*/ 165 h 174"/>
                  <a:gd name="T94" fmla="*/ 312 w 362"/>
                  <a:gd name="T95" fmla="*/ 175 h 174"/>
                  <a:gd name="T96" fmla="*/ 324 w 362"/>
                  <a:gd name="T97" fmla="*/ 177 h 174"/>
                  <a:gd name="T98" fmla="*/ 354 w 362"/>
                  <a:gd name="T99" fmla="*/ 161 h 174"/>
                  <a:gd name="T100" fmla="*/ 358 w 362"/>
                  <a:gd name="T101" fmla="*/ 151 h 174"/>
                  <a:gd name="T102" fmla="*/ 362 w 362"/>
                  <a:gd name="T103" fmla="*/ 114 h 174"/>
                  <a:gd name="T104" fmla="*/ 276 w 362"/>
                  <a:gd name="T105" fmla="*/ 0 h 17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362" h="174">
                    <a:moveTo>
                      <a:pt x="274" y="0"/>
                    </a:moveTo>
                    <a:lnTo>
                      <a:pt x="208" y="12"/>
                    </a:lnTo>
                    <a:lnTo>
                      <a:pt x="0" y="52"/>
                    </a:lnTo>
                    <a:lnTo>
                      <a:pt x="12" y="104"/>
                    </a:lnTo>
                    <a:lnTo>
                      <a:pt x="16" y="96"/>
                    </a:lnTo>
                    <a:lnTo>
                      <a:pt x="20" y="94"/>
                    </a:lnTo>
                    <a:lnTo>
                      <a:pt x="36" y="76"/>
                    </a:lnTo>
                    <a:lnTo>
                      <a:pt x="42" y="74"/>
                    </a:lnTo>
                    <a:lnTo>
                      <a:pt x="48" y="66"/>
                    </a:lnTo>
                    <a:lnTo>
                      <a:pt x="54" y="62"/>
                    </a:lnTo>
                    <a:lnTo>
                      <a:pt x="58" y="52"/>
                    </a:lnTo>
                    <a:lnTo>
                      <a:pt x="62" y="58"/>
                    </a:lnTo>
                    <a:lnTo>
                      <a:pt x="72" y="60"/>
                    </a:lnTo>
                    <a:lnTo>
                      <a:pt x="82" y="56"/>
                    </a:lnTo>
                    <a:lnTo>
                      <a:pt x="84" y="50"/>
                    </a:lnTo>
                    <a:lnTo>
                      <a:pt x="108" y="42"/>
                    </a:lnTo>
                    <a:lnTo>
                      <a:pt x="114" y="44"/>
                    </a:lnTo>
                    <a:lnTo>
                      <a:pt x="120" y="46"/>
                    </a:lnTo>
                    <a:lnTo>
                      <a:pt x="128" y="42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42" y="70"/>
                    </a:lnTo>
                    <a:lnTo>
                      <a:pt x="148" y="68"/>
                    </a:lnTo>
                    <a:lnTo>
                      <a:pt x="154" y="72"/>
                    </a:lnTo>
                    <a:lnTo>
                      <a:pt x="162" y="74"/>
                    </a:lnTo>
                    <a:lnTo>
                      <a:pt x="158" y="82"/>
                    </a:lnTo>
                    <a:lnTo>
                      <a:pt x="166" y="92"/>
                    </a:lnTo>
                    <a:lnTo>
                      <a:pt x="182" y="92"/>
                    </a:lnTo>
                    <a:lnTo>
                      <a:pt x="188" y="98"/>
                    </a:lnTo>
                    <a:lnTo>
                      <a:pt x="198" y="102"/>
                    </a:lnTo>
                    <a:lnTo>
                      <a:pt x="204" y="110"/>
                    </a:lnTo>
                    <a:lnTo>
                      <a:pt x="202" y="114"/>
                    </a:lnTo>
                    <a:lnTo>
                      <a:pt x="192" y="132"/>
                    </a:lnTo>
                    <a:lnTo>
                      <a:pt x="188" y="148"/>
                    </a:lnTo>
                    <a:lnTo>
                      <a:pt x="188" y="158"/>
                    </a:lnTo>
                    <a:lnTo>
                      <a:pt x="200" y="160"/>
                    </a:lnTo>
                    <a:lnTo>
                      <a:pt x="210" y="152"/>
                    </a:lnTo>
                    <a:lnTo>
                      <a:pt x="218" y="162"/>
                    </a:lnTo>
                    <a:lnTo>
                      <a:pt x="224" y="164"/>
                    </a:lnTo>
                    <a:lnTo>
                      <a:pt x="224" y="162"/>
                    </a:lnTo>
                    <a:lnTo>
                      <a:pt x="232" y="160"/>
                    </a:lnTo>
                    <a:lnTo>
                      <a:pt x="246" y="160"/>
                    </a:lnTo>
                    <a:lnTo>
                      <a:pt x="262" y="166"/>
                    </a:lnTo>
                    <a:lnTo>
                      <a:pt x="268" y="170"/>
                    </a:lnTo>
                    <a:lnTo>
                      <a:pt x="272" y="170"/>
                    </a:lnTo>
                    <a:lnTo>
                      <a:pt x="272" y="166"/>
                    </a:lnTo>
                    <a:lnTo>
                      <a:pt x="268" y="162"/>
                    </a:lnTo>
                    <a:lnTo>
                      <a:pt x="262" y="150"/>
                    </a:lnTo>
                    <a:lnTo>
                      <a:pt x="256" y="148"/>
                    </a:lnTo>
                    <a:lnTo>
                      <a:pt x="254" y="146"/>
                    </a:lnTo>
                    <a:lnTo>
                      <a:pt x="256" y="144"/>
                    </a:lnTo>
                    <a:lnTo>
                      <a:pt x="258" y="144"/>
                    </a:lnTo>
                    <a:lnTo>
                      <a:pt x="260" y="140"/>
                    </a:lnTo>
                    <a:lnTo>
                      <a:pt x="252" y="136"/>
                    </a:lnTo>
                    <a:lnTo>
                      <a:pt x="246" y="126"/>
                    </a:lnTo>
                    <a:lnTo>
                      <a:pt x="240" y="110"/>
                    </a:lnTo>
                    <a:lnTo>
                      <a:pt x="238" y="104"/>
                    </a:lnTo>
                    <a:lnTo>
                      <a:pt x="238" y="92"/>
                    </a:lnTo>
                    <a:lnTo>
                      <a:pt x="240" y="74"/>
                    </a:lnTo>
                    <a:lnTo>
                      <a:pt x="240" y="70"/>
                    </a:lnTo>
                    <a:lnTo>
                      <a:pt x="236" y="68"/>
                    </a:lnTo>
                    <a:lnTo>
                      <a:pt x="236" y="62"/>
                    </a:lnTo>
                    <a:lnTo>
                      <a:pt x="238" y="58"/>
                    </a:lnTo>
                    <a:lnTo>
                      <a:pt x="240" y="54"/>
                    </a:lnTo>
                    <a:lnTo>
                      <a:pt x="242" y="48"/>
                    </a:lnTo>
                    <a:lnTo>
                      <a:pt x="256" y="38"/>
                    </a:lnTo>
                    <a:lnTo>
                      <a:pt x="258" y="36"/>
                    </a:lnTo>
                    <a:lnTo>
                      <a:pt x="262" y="22"/>
                    </a:lnTo>
                    <a:lnTo>
                      <a:pt x="270" y="22"/>
                    </a:lnTo>
                    <a:lnTo>
                      <a:pt x="272" y="28"/>
                    </a:lnTo>
                    <a:lnTo>
                      <a:pt x="266" y="38"/>
                    </a:lnTo>
                    <a:lnTo>
                      <a:pt x="262" y="46"/>
                    </a:lnTo>
                    <a:lnTo>
                      <a:pt x="256" y="52"/>
                    </a:lnTo>
                    <a:lnTo>
                      <a:pt x="252" y="60"/>
                    </a:lnTo>
                    <a:lnTo>
                      <a:pt x="258" y="70"/>
                    </a:lnTo>
                    <a:lnTo>
                      <a:pt x="264" y="72"/>
                    </a:lnTo>
                    <a:lnTo>
                      <a:pt x="268" y="90"/>
                    </a:lnTo>
                    <a:lnTo>
                      <a:pt x="266" y="92"/>
                    </a:lnTo>
                    <a:lnTo>
                      <a:pt x="256" y="100"/>
                    </a:lnTo>
                    <a:lnTo>
                      <a:pt x="258" y="104"/>
                    </a:lnTo>
                    <a:lnTo>
                      <a:pt x="266" y="106"/>
                    </a:lnTo>
                    <a:lnTo>
                      <a:pt x="268" y="110"/>
                    </a:lnTo>
                    <a:lnTo>
                      <a:pt x="266" y="118"/>
                    </a:lnTo>
                    <a:lnTo>
                      <a:pt x="268" y="124"/>
                    </a:lnTo>
                    <a:lnTo>
                      <a:pt x="268" y="128"/>
                    </a:lnTo>
                    <a:lnTo>
                      <a:pt x="272" y="140"/>
                    </a:lnTo>
                    <a:lnTo>
                      <a:pt x="284" y="148"/>
                    </a:lnTo>
                    <a:lnTo>
                      <a:pt x="290" y="148"/>
                    </a:lnTo>
                    <a:lnTo>
                      <a:pt x="292" y="144"/>
                    </a:lnTo>
                    <a:lnTo>
                      <a:pt x="300" y="144"/>
                    </a:lnTo>
                    <a:lnTo>
                      <a:pt x="302" y="146"/>
                    </a:lnTo>
                    <a:lnTo>
                      <a:pt x="300" y="152"/>
                    </a:lnTo>
                    <a:lnTo>
                      <a:pt x="306" y="162"/>
                    </a:lnTo>
                    <a:lnTo>
                      <a:pt x="308" y="166"/>
                    </a:lnTo>
                    <a:lnTo>
                      <a:pt x="310" y="172"/>
                    </a:lnTo>
                    <a:lnTo>
                      <a:pt x="320" y="172"/>
                    </a:lnTo>
                    <a:lnTo>
                      <a:pt x="322" y="174"/>
                    </a:lnTo>
                    <a:lnTo>
                      <a:pt x="328" y="166"/>
                    </a:lnTo>
                    <a:lnTo>
                      <a:pt x="352" y="158"/>
                    </a:lnTo>
                    <a:lnTo>
                      <a:pt x="354" y="154"/>
                    </a:lnTo>
                    <a:lnTo>
                      <a:pt x="356" y="148"/>
                    </a:lnTo>
                    <a:lnTo>
                      <a:pt x="362" y="114"/>
                    </a:lnTo>
                    <a:lnTo>
                      <a:pt x="360" y="112"/>
                    </a:lnTo>
                    <a:lnTo>
                      <a:pt x="310" y="122"/>
                    </a:lnTo>
                    <a:lnTo>
                      <a:pt x="274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Freeform 59">
                <a:extLst>
                  <a:ext uri="{FF2B5EF4-FFF2-40B4-BE49-F238E27FC236}">
                    <a16:creationId xmlns:a16="http://schemas.microsoft.com/office/drawing/2014/main" id="{50E58EAD-20BB-4A77-9DF4-C33E027570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49" y="1463"/>
                <a:ext cx="112" cy="242"/>
              </a:xfrm>
              <a:custGeom>
                <a:avLst/>
                <a:gdLst>
                  <a:gd name="T0" fmla="*/ 0 w 110"/>
                  <a:gd name="T1" fmla="*/ 182 h 242"/>
                  <a:gd name="T2" fmla="*/ 4 w 110"/>
                  <a:gd name="T3" fmla="*/ 182 h 242"/>
                  <a:gd name="T4" fmla="*/ 14 w 110"/>
                  <a:gd name="T5" fmla="*/ 198 h 242"/>
                  <a:gd name="T6" fmla="*/ 39 w 110"/>
                  <a:gd name="T7" fmla="*/ 214 h 242"/>
                  <a:gd name="T8" fmla="*/ 57 w 110"/>
                  <a:gd name="T9" fmla="*/ 218 h 242"/>
                  <a:gd name="T10" fmla="*/ 63 w 110"/>
                  <a:gd name="T11" fmla="*/ 232 h 242"/>
                  <a:gd name="T12" fmla="*/ 67 w 110"/>
                  <a:gd name="T13" fmla="*/ 242 h 242"/>
                  <a:gd name="T14" fmla="*/ 77 w 110"/>
                  <a:gd name="T15" fmla="*/ 226 h 242"/>
                  <a:gd name="T16" fmla="*/ 86 w 110"/>
                  <a:gd name="T17" fmla="*/ 200 h 242"/>
                  <a:gd name="T18" fmla="*/ 102 w 110"/>
                  <a:gd name="T19" fmla="*/ 174 h 242"/>
                  <a:gd name="T20" fmla="*/ 112 w 110"/>
                  <a:gd name="T21" fmla="*/ 150 h 242"/>
                  <a:gd name="T22" fmla="*/ 108 w 110"/>
                  <a:gd name="T23" fmla="*/ 110 h 242"/>
                  <a:gd name="T24" fmla="*/ 100 w 110"/>
                  <a:gd name="T25" fmla="*/ 76 h 242"/>
                  <a:gd name="T26" fmla="*/ 86 w 110"/>
                  <a:gd name="T27" fmla="*/ 82 h 242"/>
                  <a:gd name="T28" fmla="*/ 79 w 110"/>
                  <a:gd name="T29" fmla="*/ 78 h 242"/>
                  <a:gd name="T30" fmla="*/ 75 w 110"/>
                  <a:gd name="T31" fmla="*/ 80 h 242"/>
                  <a:gd name="T32" fmla="*/ 81 w 110"/>
                  <a:gd name="T33" fmla="*/ 64 h 242"/>
                  <a:gd name="T34" fmla="*/ 88 w 110"/>
                  <a:gd name="T35" fmla="*/ 60 h 242"/>
                  <a:gd name="T36" fmla="*/ 90 w 110"/>
                  <a:gd name="T37" fmla="*/ 42 h 242"/>
                  <a:gd name="T38" fmla="*/ 96 w 110"/>
                  <a:gd name="T39" fmla="*/ 34 h 242"/>
                  <a:gd name="T40" fmla="*/ 26 w 110"/>
                  <a:gd name="T41" fmla="*/ 0 h 242"/>
                  <a:gd name="T42" fmla="*/ 18 w 110"/>
                  <a:gd name="T43" fmla="*/ 12 h 242"/>
                  <a:gd name="T44" fmla="*/ 14 w 110"/>
                  <a:gd name="T45" fmla="*/ 30 h 242"/>
                  <a:gd name="T46" fmla="*/ 4 w 110"/>
                  <a:gd name="T47" fmla="*/ 42 h 242"/>
                  <a:gd name="T48" fmla="*/ 10 w 110"/>
                  <a:gd name="T49" fmla="*/ 52 h 242"/>
                  <a:gd name="T50" fmla="*/ 6 w 110"/>
                  <a:gd name="T51" fmla="*/ 64 h 242"/>
                  <a:gd name="T52" fmla="*/ 8 w 110"/>
                  <a:gd name="T53" fmla="*/ 84 h 242"/>
                  <a:gd name="T54" fmla="*/ 20 w 110"/>
                  <a:gd name="T55" fmla="*/ 98 h 242"/>
                  <a:gd name="T56" fmla="*/ 33 w 110"/>
                  <a:gd name="T57" fmla="*/ 102 h 242"/>
                  <a:gd name="T58" fmla="*/ 43 w 110"/>
                  <a:gd name="T59" fmla="*/ 110 h 242"/>
                  <a:gd name="T60" fmla="*/ 53 w 110"/>
                  <a:gd name="T61" fmla="*/ 120 h 242"/>
                  <a:gd name="T62" fmla="*/ 29 w 110"/>
                  <a:gd name="T63" fmla="*/ 140 h 242"/>
                  <a:gd name="T64" fmla="*/ 6 w 110"/>
                  <a:gd name="T65" fmla="*/ 164 h 24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0" h="242">
                    <a:moveTo>
                      <a:pt x="6" y="164"/>
                    </a:moveTo>
                    <a:lnTo>
                      <a:pt x="0" y="182"/>
                    </a:lnTo>
                    <a:lnTo>
                      <a:pt x="0" y="184"/>
                    </a:lnTo>
                    <a:lnTo>
                      <a:pt x="4" y="182"/>
                    </a:lnTo>
                    <a:lnTo>
                      <a:pt x="8" y="192"/>
                    </a:lnTo>
                    <a:lnTo>
                      <a:pt x="14" y="198"/>
                    </a:lnTo>
                    <a:lnTo>
                      <a:pt x="20" y="206"/>
                    </a:lnTo>
                    <a:lnTo>
                      <a:pt x="38" y="214"/>
                    </a:lnTo>
                    <a:lnTo>
                      <a:pt x="44" y="216"/>
                    </a:lnTo>
                    <a:lnTo>
                      <a:pt x="56" y="218"/>
                    </a:lnTo>
                    <a:lnTo>
                      <a:pt x="62" y="220"/>
                    </a:lnTo>
                    <a:lnTo>
                      <a:pt x="62" y="232"/>
                    </a:lnTo>
                    <a:lnTo>
                      <a:pt x="62" y="238"/>
                    </a:lnTo>
                    <a:lnTo>
                      <a:pt x="66" y="242"/>
                    </a:lnTo>
                    <a:lnTo>
                      <a:pt x="70" y="236"/>
                    </a:lnTo>
                    <a:lnTo>
                      <a:pt x="76" y="226"/>
                    </a:lnTo>
                    <a:lnTo>
                      <a:pt x="76" y="214"/>
                    </a:lnTo>
                    <a:lnTo>
                      <a:pt x="84" y="200"/>
                    </a:lnTo>
                    <a:lnTo>
                      <a:pt x="88" y="190"/>
                    </a:lnTo>
                    <a:lnTo>
                      <a:pt x="100" y="174"/>
                    </a:lnTo>
                    <a:lnTo>
                      <a:pt x="104" y="162"/>
                    </a:lnTo>
                    <a:lnTo>
                      <a:pt x="110" y="150"/>
                    </a:lnTo>
                    <a:lnTo>
                      <a:pt x="108" y="144"/>
                    </a:lnTo>
                    <a:lnTo>
                      <a:pt x="106" y="110"/>
                    </a:lnTo>
                    <a:lnTo>
                      <a:pt x="104" y="84"/>
                    </a:lnTo>
                    <a:lnTo>
                      <a:pt x="98" y="76"/>
                    </a:lnTo>
                    <a:lnTo>
                      <a:pt x="88" y="80"/>
                    </a:lnTo>
                    <a:lnTo>
                      <a:pt x="84" y="82"/>
                    </a:lnTo>
                    <a:lnTo>
                      <a:pt x="80" y="82"/>
                    </a:lnTo>
                    <a:lnTo>
                      <a:pt x="78" y="78"/>
                    </a:lnTo>
                    <a:lnTo>
                      <a:pt x="76" y="82"/>
                    </a:lnTo>
                    <a:lnTo>
                      <a:pt x="74" y="80"/>
                    </a:lnTo>
                    <a:lnTo>
                      <a:pt x="74" y="76"/>
                    </a:lnTo>
                    <a:lnTo>
                      <a:pt x="80" y="64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50"/>
                    </a:lnTo>
                    <a:lnTo>
                      <a:pt x="88" y="42"/>
                    </a:lnTo>
                    <a:lnTo>
                      <a:pt x="90" y="38"/>
                    </a:lnTo>
                    <a:lnTo>
                      <a:pt x="94" y="34"/>
                    </a:lnTo>
                    <a:lnTo>
                      <a:pt x="90" y="24"/>
                    </a:lnTo>
                    <a:lnTo>
                      <a:pt x="26" y="0"/>
                    </a:lnTo>
                    <a:lnTo>
                      <a:pt x="22" y="4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4" y="30"/>
                    </a:lnTo>
                    <a:lnTo>
                      <a:pt x="6" y="40"/>
                    </a:lnTo>
                    <a:lnTo>
                      <a:pt x="4" y="42"/>
                    </a:lnTo>
                    <a:lnTo>
                      <a:pt x="4" y="46"/>
                    </a:lnTo>
                    <a:lnTo>
                      <a:pt x="10" y="52"/>
                    </a:lnTo>
                    <a:lnTo>
                      <a:pt x="10" y="62"/>
                    </a:lnTo>
                    <a:lnTo>
                      <a:pt x="6" y="64"/>
                    </a:lnTo>
                    <a:lnTo>
                      <a:pt x="6" y="82"/>
                    </a:lnTo>
                    <a:lnTo>
                      <a:pt x="8" y="84"/>
                    </a:lnTo>
                    <a:lnTo>
                      <a:pt x="18" y="86"/>
                    </a:lnTo>
                    <a:lnTo>
                      <a:pt x="20" y="98"/>
                    </a:lnTo>
                    <a:lnTo>
                      <a:pt x="30" y="100"/>
                    </a:lnTo>
                    <a:lnTo>
                      <a:pt x="32" y="102"/>
                    </a:lnTo>
                    <a:lnTo>
                      <a:pt x="38" y="106"/>
                    </a:lnTo>
                    <a:lnTo>
                      <a:pt x="42" y="110"/>
                    </a:lnTo>
                    <a:lnTo>
                      <a:pt x="52" y="118"/>
                    </a:lnTo>
                    <a:lnTo>
                      <a:pt x="52" y="120"/>
                    </a:lnTo>
                    <a:lnTo>
                      <a:pt x="40" y="128"/>
                    </a:lnTo>
                    <a:lnTo>
                      <a:pt x="28" y="140"/>
                    </a:lnTo>
                    <a:lnTo>
                      <a:pt x="26" y="150"/>
                    </a:lnTo>
                    <a:lnTo>
                      <a:pt x="6" y="16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Freeform 60">
                <a:extLst>
                  <a:ext uri="{FF2B5EF4-FFF2-40B4-BE49-F238E27FC236}">
                    <a16:creationId xmlns:a16="http://schemas.microsoft.com/office/drawing/2014/main" id="{E330BD52-7560-4767-80D9-D5051C46925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4" y="2061"/>
                <a:ext cx="680" cy="354"/>
              </a:xfrm>
              <a:custGeom>
                <a:avLst/>
                <a:gdLst>
                  <a:gd name="T0" fmla="*/ 78 w 678"/>
                  <a:gd name="T1" fmla="*/ 6 h 352"/>
                  <a:gd name="T2" fmla="*/ 0 w 678"/>
                  <a:gd name="T3" fmla="*/ 50 h 352"/>
                  <a:gd name="T4" fmla="*/ 231 w 678"/>
                  <a:gd name="T5" fmla="*/ 257 h 352"/>
                  <a:gd name="T6" fmla="*/ 243 w 678"/>
                  <a:gd name="T7" fmla="*/ 261 h 352"/>
                  <a:gd name="T8" fmla="*/ 261 w 678"/>
                  <a:gd name="T9" fmla="*/ 280 h 352"/>
                  <a:gd name="T10" fmla="*/ 283 w 678"/>
                  <a:gd name="T11" fmla="*/ 272 h 352"/>
                  <a:gd name="T12" fmla="*/ 295 w 678"/>
                  <a:gd name="T13" fmla="*/ 282 h 352"/>
                  <a:gd name="T14" fmla="*/ 299 w 678"/>
                  <a:gd name="T15" fmla="*/ 294 h 352"/>
                  <a:gd name="T16" fmla="*/ 323 w 678"/>
                  <a:gd name="T17" fmla="*/ 300 h 352"/>
                  <a:gd name="T18" fmla="*/ 335 w 678"/>
                  <a:gd name="T19" fmla="*/ 304 h 352"/>
                  <a:gd name="T20" fmla="*/ 343 w 678"/>
                  <a:gd name="T21" fmla="*/ 300 h 352"/>
                  <a:gd name="T22" fmla="*/ 357 w 678"/>
                  <a:gd name="T23" fmla="*/ 312 h 352"/>
                  <a:gd name="T24" fmla="*/ 383 w 678"/>
                  <a:gd name="T25" fmla="*/ 308 h 352"/>
                  <a:gd name="T26" fmla="*/ 391 w 678"/>
                  <a:gd name="T27" fmla="*/ 320 h 352"/>
                  <a:gd name="T28" fmla="*/ 395 w 678"/>
                  <a:gd name="T29" fmla="*/ 332 h 352"/>
                  <a:gd name="T30" fmla="*/ 413 w 678"/>
                  <a:gd name="T31" fmla="*/ 324 h 352"/>
                  <a:gd name="T32" fmla="*/ 439 w 678"/>
                  <a:gd name="T33" fmla="*/ 336 h 352"/>
                  <a:gd name="T34" fmla="*/ 451 w 678"/>
                  <a:gd name="T35" fmla="*/ 332 h 352"/>
                  <a:gd name="T36" fmla="*/ 459 w 678"/>
                  <a:gd name="T37" fmla="*/ 336 h 352"/>
                  <a:gd name="T38" fmla="*/ 461 w 678"/>
                  <a:gd name="T39" fmla="*/ 350 h 352"/>
                  <a:gd name="T40" fmla="*/ 465 w 678"/>
                  <a:gd name="T41" fmla="*/ 340 h 352"/>
                  <a:gd name="T42" fmla="*/ 479 w 678"/>
                  <a:gd name="T43" fmla="*/ 328 h 352"/>
                  <a:gd name="T44" fmla="*/ 483 w 678"/>
                  <a:gd name="T45" fmla="*/ 334 h 352"/>
                  <a:gd name="T46" fmla="*/ 497 w 678"/>
                  <a:gd name="T47" fmla="*/ 336 h 352"/>
                  <a:gd name="T48" fmla="*/ 507 w 678"/>
                  <a:gd name="T49" fmla="*/ 334 h 352"/>
                  <a:gd name="T50" fmla="*/ 507 w 678"/>
                  <a:gd name="T51" fmla="*/ 336 h 352"/>
                  <a:gd name="T52" fmla="*/ 528 w 678"/>
                  <a:gd name="T53" fmla="*/ 350 h 352"/>
                  <a:gd name="T54" fmla="*/ 546 w 678"/>
                  <a:gd name="T55" fmla="*/ 336 h 352"/>
                  <a:gd name="T56" fmla="*/ 578 w 678"/>
                  <a:gd name="T57" fmla="*/ 330 h 352"/>
                  <a:gd name="T58" fmla="*/ 592 w 678"/>
                  <a:gd name="T59" fmla="*/ 328 h 352"/>
                  <a:gd name="T60" fmla="*/ 622 w 678"/>
                  <a:gd name="T61" fmla="*/ 328 h 352"/>
                  <a:gd name="T62" fmla="*/ 662 w 678"/>
                  <a:gd name="T63" fmla="*/ 346 h 352"/>
                  <a:gd name="T64" fmla="*/ 674 w 678"/>
                  <a:gd name="T65" fmla="*/ 352 h 352"/>
                  <a:gd name="T66" fmla="*/ 680 w 678"/>
                  <a:gd name="T67" fmla="*/ 177 h 352"/>
                  <a:gd name="T68" fmla="*/ 664 w 678"/>
                  <a:gd name="T69" fmla="*/ 18 h 35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678" h="352">
                    <a:moveTo>
                      <a:pt x="662" y="18"/>
                    </a:moveTo>
                    <a:lnTo>
                      <a:pt x="78" y="6"/>
                    </a:lnTo>
                    <a:lnTo>
                      <a:pt x="2" y="0"/>
                    </a:lnTo>
                    <a:lnTo>
                      <a:pt x="0" y="50"/>
                    </a:lnTo>
                    <a:lnTo>
                      <a:pt x="236" y="64"/>
                    </a:lnTo>
                    <a:lnTo>
                      <a:pt x="230" y="256"/>
                    </a:lnTo>
                    <a:lnTo>
                      <a:pt x="238" y="256"/>
                    </a:lnTo>
                    <a:lnTo>
                      <a:pt x="242" y="260"/>
                    </a:lnTo>
                    <a:lnTo>
                      <a:pt x="254" y="276"/>
                    </a:lnTo>
                    <a:lnTo>
                      <a:pt x="260" y="278"/>
                    </a:lnTo>
                    <a:lnTo>
                      <a:pt x="276" y="276"/>
                    </a:lnTo>
                    <a:lnTo>
                      <a:pt x="282" y="270"/>
                    </a:lnTo>
                    <a:lnTo>
                      <a:pt x="290" y="276"/>
                    </a:lnTo>
                    <a:lnTo>
                      <a:pt x="294" y="280"/>
                    </a:lnTo>
                    <a:lnTo>
                      <a:pt x="294" y="284"/>
                    </a:lnTo>
                    <a:lnTo>
                      <a:pt x="298" y="292"/>
                    </a:lnTo>
                    <a:lnTo>
                      <a:pt x="300" y="294"/>
                    </a:lnTo>
                    <a:lnTo>
                      <a:pt x="322" y="298"/>
                    </a:lnTo>
                    <a:lnTo>
                      <a:pt x="330" y="302"/>
                    </a:lnTo>
                    <a:lnTo>
                      <a:pt x="334" y="302"/>
                    </a:lnTo>
                    <a:lnTo>
                      <a:pt x="336" y="300"/>
                    </a:lnTo>
                    <a:lnTo>
                      <a:pt x="342" y="298"/>
                    </a:lnTo>
                    <a:lnTo>
                      <a:pt x="346" y="306"/>
                    </a:lnTo>
                    <a:lnTo>
                      <a:pt x="356" y="310"/>
                    </a:lnTo>
                    <a:lnTo>
                      <a:pt x="362" y="304"/>
                    </a:lnTo>
                    <a:lnTo>
                      <a:pt x="382" y="306"/>
                    </a:lnTo>
                    <a:lnTo>
                      <a:pt x="382" y="310"/>
                    </a:lnTo>
                    <a:lnTo>
                      <a:pt x="390" y="318"/>
                    </a:lnTo>
                    <a:lnTo>
                      <a:pt x="394" y="320"/>
                    </a:lnTo>
                    <a:lnTo>
                      <a:pt x="394" y="330"/>
                    </a:lnTo>
                    <a:lnTo>
                      <a:pt x="410" y="334"/>
                    </a:lnTo>
                    <a:lnTo>
                      <a:pt x="412" y="322"/>
                    </a:lnTo>
                    <a:lnTo>
                      <a:pt x="418" y="320"/>
                    </a:lnTo>
                    <a:lnTo>
                      <a:pt x="438" y="334"/>
                    </a:lnTo>
                    <a:lnTo>
                      <a:pt x="442" y="334"/>
                    </a:lnTo>
                    <a:lnTo>
                      <a:pt x="450" y="330"/>
                    </a:lnTo>
                    <a:lnTo>
                      <a:pt x="456" y="330"/>
                    </a:lnTo>
                    <a:lnTo>
                      <a:pt x="458" y="334"/>
                    </a:lnTo>
                    <a:lnTo>
                      <a:pt x="456" y="340"/>
                    </a:lnTo>
                    <a:lnTo>
                      <a:pt x="460" y="348"/>
                    </a:lnTo>
                    <a:lnTo>
                      <a:pt x="466" y="344"/>
                    </a:lnTo>
                    <a:lnTo>
                      <a:pt x="464" y="338"/>
                    </a:lnTo>
                    <a:lnTo>
                      <a:pt x="470" y="330"/>
                    </a:lnTo>
                    <a:lnTo>
                      <a:pt x="478" y="326"/>
                    </a:lnTo>
                    <a:lnTo>
                      <a:pt x="480" y="326"/>
                    </a:lnTo>
                    <a:lnTo>
                      <a:pt x="482" y="332"/>
                    </a:lnTo>
                    <a:lnTo>
                      <a:pt x="492" y="336"/>
                    </a:lnTo>
                    <a:lnTo>
                      <a:pt x="496" y="334"/>
                    </a:lnTo>
                    <a:lnTo>
                      <a:pt x="498" y="330"/>
                    </a:lnTo>
                    <a:lnTo>
                      <a:pt x="506" y="332"/>
                    </a:lnTo>
                    <a:lnTo>
                      <a:pt x="506" y="334"/>
                    </a:lnTo>
                    <a:lnTo>
                      <a:pt x="514" y="340"/>
                    </a:lnTo>
                    <a:lnTo>
                      <a:pt x="526" y="348"/>
                    </a:lnTo>
                    <a:lnTo>
                      <a:pt x="540" y="338"/>
                    </a:lnTo>
                    <a:lnTo>
                      <a:pt x="544" y="334"/>
                    </a:lnTo>
                    <a:lnTo>
                      <a:pt x="562" y="334"/>
                    </a:lnTo>
                    <a:lnTo>
                      <a:pt x="576" y="328"/>
                    </a:lnTo>
                    <a:lnTo>
                      <a:pt x="582" y="326"/>
                    </a:lnTo>
                    <a:lnTo>
                      <a:pt x="590" y="326"/>
                    </a:lnTo>
                    <a:lnTo>
                      <a:pt x="608" y="330"/>
                    </a:lnTo>
                    <a:lnTo>
                      <a:pt x="620" y="326"/>
                    </a:lnTo>
                    <a:lnTo>
                      <a:pt x="622" y="324"/>
                    </a:lnTo>
                    <a:lnTo>
                      <a:pt x="660" y="344"/>
                    </a:lnTo>
                    <a:lnTo>
                      <a:pt x="668" y="346"/>
                    </a:lnTo>
                    <a:lnTo>
                      <a:pt x="672" y="350"/>
                    </a:lnTo>
                    <a:lnTo>
                      <a:pt x="676" y="352"/>
                    </a:lnTo>
                    <a:lnTo>
                      <a:pt x="678" y="176"/>
                    </a:lnTo>
                    <a:lnTo>
                      <a:pt x="664" y="68"/>
                    </a:lnTo>
                    <a:lnTo>
                      <a:pt x="662" y="1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Freeform 61">
                <a:extLst>
                  <a:ext uri="{FF2B5EF4-FFF2-40B4-BE49-F238E27FC236}">
                    <a16:creationId xmlns:a16="http://schemas.microsoft.com/office/drawing/2014/main" id="{CCC30C7D-7473-4EA6-BD46-F178393CAB6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86" y="1087"/>
                <a:ext cx="597" cy="457"/>
              </a:xfrm>
              <a:custGeom>
                <a:avLst/>
                <a:gdLst>
                  <a:gd name="T0" fmla="*/ 456 w 594"/>
                  <a:gd name="T1" fmla="*/ 409 h 456"/>
                  <a:gd name="T2" fmla="*/ 448 w 594"/>
                  <a:gd name="T3" fmla="*/ 425 h 456"/>
                  <a:gd name="T4" fmla="*/ 442 w 594"/>
                  <a:gd name="T5" fmla="*/ 439 h 456"/>
                  <a:gd name="T6" fmla="*/ 438 w 594"/>
                  <a:gd name="T7" fmla="*/ 457 h 456"/>
                  <a:gd name="T8" fmla="*/ 452 w 594"/>
                  <a:gd name="T9" fmla="*/ 441 h 456"/>
                  <a:gd name="T10" fmla="*/ 476 w 594"/>
                  <a:gd name="T11" fmla="*/ 439 h 456"/>
                  <a:gd name="T12" fmla="*/ 509 w 594"/>
                  <a:gd name="T13" fmla="*/ 425 h 456"/>
                  <a:gd name="T14" fmla="*/ 563 w 594"/>
                  <a:gd name="T15" fmla="*/ 387 h 456"/>
                  <a:gd name="T16" fmla="*/ 581 w 594"/>
                  <a:gd name="T17" fmla="*/ 373 h 456"/>
                  <a:gd name="T18" fmla="*/ 597 w 594"/>
                  <a:gd name="T19" fmla="*/ 357 h 456"/>
                  <a:gd name="T20" fmla="*/ 589 w 594"/>
                  <a:gd name="T21" fmla="*/ 361 h 456"/>
                  <a:gd name="T22" fmla="*/ 567 w 594"/>
                  <a:gd name="T23" fmla="*/ 371 h 456"/>
                  <a:gd name="T24" fmla="*/ 553 w 594"/>
                  <a:gd name="T25" fmla="*/ 379 h 456"/>
                  <a:gd name="T26" fmla="*/ 569 w 594"/>
                  <a:gd name="T27" fmla="*/ 353 h 456"/>
                  <a:gd name="T28" fmla="*/ 557 w 594"/>
                  <a:gd name="T29" fmla="*/ 365 h 456"/>
                  <a:gd name="T30" fmla="*/ 507 w 594"/>
                  <a:gd name="T31" fmla="*/ 393 h 456"/>
                  <a:gd name="T32" fmla="*/ 468 w 594"/>
                  <a:gd name="T33" fmla="*/ 419 h 456"/>
                  <a:gd name="T34" fmla="*/ 466 w 594"/>
                  <a:gd name="T35" fmla="*/ 399 h 456"/>
                  <a:gd name="T36" fmla="*/ 476 w 594"/>
                  <a:gd name="T37" fmla="*/ 373 h 456"/>
                  <a:gd name="T38" fmla="*/ 462 w 594"/>
                  <a:gd name="T39" fmla="*/ 289 h 456"/>
                  <a:gd name="T40" fmla="*/ 452 w 594"/>
                  <a:gd name="T41" fmla="*/ 200 h 456"/>
                  <a:gd name="T42" fmla="*/ 442 w 594"/>
                  <a:gd name="T43" fmla="*/ 146 h 456"/>
                  <a:gd name="T44" fmla="*/ 430 w 594"/>
                  <a:gd name="T45" fmla="*/ 136 h 456"/>
                  <a:gd name="T46" fmla="*/ 428 w 594"/>
                  <a:gd name="T47" fmla="*/ 120 h 456"/>
                  <a:gd name="T48" fmla="*/ 420 w 594"/>
                  <a:gd name="T49" fmla="*/ 70 h 456"/>
                  <a:gd name="T50" fmla="*/ 404 w 594"/>
                  <a:gd name="T51" fmla="*/ 18 h 456"/>
                  <a:gd name="T52" fmla="*/ 396 w 594"/>
                  <a:gd name="T53" fmla="*/ 0 h 456"/>
                  <a:gd name="T54" fmla="*/ 302 w 594"/>
                  <a:gd name="T55" fmla="*/ 20 h 456"/>
                  <a:gd name="T56" fmla="*/ 267 w 594"/>
                  <a:gd name="T57" fmla="*/ 48 h 456"/>
                  <a:gd name="T58" fmla="*/ 243 w 594"/>
                  <a:gd name="T59" fmla="*/ 90 h 456"/>
                  <a:gd name="T60" fmla="*/ 211 w 594"/>
                  <a:gd name="T61" fmla="*/ 130 h 456"/>
                  <a:gd name="T62" fmla="*/ 215 w 594"/>
                  <a:gd name="T63" fmla="*/ 146 h 456"/>
                  <a:gd name="T64" fmla="*/ 227 w 594"/>
                  <a:gd name="T65" fmla="*/ 154 h 456"/>
                  <a:gd name="T66" fmla="*/ 229 w 594"/>
                  <a:gd name="T67" fmla="*/ 174 h 456"/>
                  <a:gd name="T68" fmla="*/ 191 w 594"/>
                  <a:gd name="T69" fmla="*/ 218 h 456"/>
                  <a:gd name="T70" fmla="*/ 125 w 594"/>
                  <a:gd name="T71" fmla="*/ 231 h 456"/>
                  <a:gd name="T72" fmla="*/ 72 w 594"/>
                  <a:gd name="T73" fmla="*/ 235 h 456"/>
                  <a:gd name="T74" fmla="*/ 38 w 594"/>
                  <a:gd name="T75" fmla="*/ 263 h 456"/>
                  <a:gd name="T76" fmla="*/ 56 w 594"/>
                  <a:gd name="T77" fmla="*/ 297 h 456"/>
                  <a:gd name="T78" fmla="*/ 42 w 594"/>
                  <a:gd name="T79" fmla="*/ 321 h 456"/>
                  <a:gd name="T80" fmla="*/ 6 w 594"/>
                  <a:gd name="T81" fmla="*/ 387 h 456"/>
                  <a:gd name="T82" fmla="*/ 334 w 594"/>
                  <a:gd name="T83" fmla="*/ 331 h 456"/>
                  <a:gd name="T84" fmla="*/ 342 w 594"/>
                  <a:gd name="T85" fmla="*/ 337 h 456"/>
                  <a:gd name="T86" fmla="*/ 358 w 594"/>
                  <a:gd name="T87" fmla="*/ 363 h 456"/>
                  <a:gd name="T88" fmla="*/ 382 w 594"/>
                  <a:gd name="T89" fmla="*/ 371 h 45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594" h="456">
                    <a:moveTo>
                      <a:pt x="386" y="374"/>
                    </a:moveTo>
                    <a:lnTo>
                      <a:pt x="450" y="398"/>
                    </a:lnTo>
                    <a:lnTo>
                      <a:pt x="454" y="408"/>
                    </a:lnTo>
                    <a:lnTo>
                      <a:pt x="450" y="412"/>
                    </a:lnTo>
                    <a:lnTo>
                      <a:pt x="448" y="416"/>
                    </a:lnTo>
                    <a:lnTo>
                      <a:pt x="446" y="424"/>
                    </a:lnTo>
                    <a:lnTo>
                      <a:pt x="446" y="434"/>
                    </a:lnTo>
                    <a:lnTo>
                      <a:pt x="442" y="434"/>
                    </a:lnTo>
                    <a:lnTo>
                      <a:pt x="440" y="438"/>
                    </a:lnTo>
                    <a:lnTo>
                      <a:pt x="434" y="450"/>
                    </a:lnTo>
                    <a:lnTo>
                      <a:pt x="434" y="454"/>
                    </a:lnTo>
                    <a:lnTo>
                      <a:pt x="436" y="456"/>
                    </a:lnTo>
                    <a:lnTo>
                      <a:pt x="438" y="452"/>
                    </a:lnTo>
                    <a:lnTo>
                      <a:pt x="440" y="450"/>
                    </a:lnTo>
                    <a:lnTo>
                      <a:pt x="450" y="440"/>
                    </a:lnTo>
                    <a:lnTo>
                      <a:pt x="456" y="442"/>
                    </a:lnTo>
                    <a:lnTo>
                      <a:pt x="470" y="442"/>
                    </a:lnTo>
                    <a:lnTo>
                      <a:pt x="474" y="438"/>
                    </a:lnTo>
                    <a:lnTo>
                      <a:pt x="488" y="434"/>
                    </a:lnTo>
                    <a:lnTo>
                      <a:pt x="500" y="430"/>
                    </a:lnTo>
                    <a:lnTo>
                      <a:pt x="506" y="424"/>
                    </a:lnTo>
                    <a:lnTo>
                      <a:pt x="514" y="416"/>
                    </a:lnTo>
                    <a:lnTo>
                      <a:pt x="550" y="392"/>
                    </a:lnTo>
                    <a:lnTo>
                      <a:pt x="560" y="386"/>
                    </a:lnTo>
                    <a:lnTo>
                      <a:pt x="568" y="380"/>
                    </a:lnTo>
                    <a:lnTo>
                      <a:pt x="574" y="378"/>
                    </a:lnTo>
                    <a:lnTo>
                      <a:pt x="578" y="372"/>
                    </a:lnTo>
                    <a:lnTo>
                      <a:pt x="586" y="368"/>
                    </a:lnTo>
                    <a:lnTo>
                      <a:pt x="590" y="364"/>
                    </a:lnTo>
                    <a:lnTo>
                      <a:pt x="594" y="356"/>
                    </a:lnTo>
                    <a:lnTo>
                      <a:pt x="594" y="354"/>
                    </a:lnTo>
                    <a:lnTo>
                      <a:pt x="594" y="352"/>
                    </a:lnTo>
                    <a:lnTo>
                      <a:pt x="586" y="360"/>
                    </a:lnTo>
                    <a:lnTo>
                      <a:pt x="578" y="362"/>
                    </a:lnTo>
                    <a:lnTo>
                      <a:pt x="568" y="366"/>
                    </a:lnTo>
                    <a:lnTo>
                      <a:pt x="564" y="370"/>
                    </a:lnTo>
                    <a:lnTo>
                      <a:pt x="560" y="376"/>
                    </a:lnTo>
                    <a:lnTo>
                      <a:pt x="552" y="382"/>
                    </a:lnTo>
                    <a:lnTo>
                      <a:pt x="550" y="378"/>
                    </a:lnTo>
                    <a:lnTo>
                      <a:pt x="552" y="372"/>
                    </a:lnTo>
                    <a:lnTo>
                      <a:pt x="560" y="364"/>
                    </a:lnTo>
                    <a:lnTo>
                      <a:pt x="566" y="352"/>
                    </a:lnTo>
                    <a:lnTo>
                      <a:pt x="564" y="350"/>
                    </a:lnTo>
                    <a:lnTo>
                      <a:pt x="558" y="356"/>
                    </a:lnTo>
                    <a:lnTo>
                      <a:pt x="554" y="364"/>
                    </a:lnTo>
                    <a:lnTo>
                      <a:pt x="548" y="368"/>
                    </a:lnTo>
                    <a:lnTo>
                      <a:pt x="528" y="380"/>
                    </a:lnTo>
                    <a:lnTo>
                      <a:pt x="504" y="392"/>
                    </a:lnTo>
                    <a:lnTo>
                      <a:pt x="482" y="402"/>
                    </a:lnTo>
                    <a:lnTo>
                      <a:pt x="474" y="408"/>
                    </a:lnTo>
                    <a:lnTo>
                      <a:pt x="466" y="418"/>
                    </a:lnTo>
                    <a:lnTo>
                      <a:pt x="462" y="414"/>
                    </a:lnTo>
                    <a:lnTo>
                      <a:pt x="460" y="406"/>
                    </a:lnTo>
                    <a:lnTo>
                      <a:pt x="464" y="398"/>
                    </a:lnTo>
                    <a:lnTo>
                      <a:pt x="470" y="392"/>
                    </a:lnTo>
                    <a:lnTo>
                      <a:pt x="462" y="384"/>
                    </a:lnTo>
                    <a:lnTo>
                      <a:pt x="474" y="372"/>
                    </a:lnTo>
                    <a:lnTo>
                      <a:pt x="474" y="368"/>
                    </a:lnTo>
                    <a:lnTo>
                      <a:pt x="470" y="360"/>
                    </a:lnTo>
                    <a:lnTo>
                      <a:pt x="460" y="288"/>
                    </a:lnTo>
                    <a:lnTo>
                      <a:pt x="458" y="284"/>
                    </a:lnTo>
                    <a:lnTo>
                      <a:pt x="458" y="216"/>
                    </a:lnTo>
                    <a:lnTo>
                      <a:pt x="450" y="200"/>
                    </a:lnTo>
                    <a:lnTo>
                      <a:pt x="444" y="184"/>
                    </a:lnTo>
                    <a:lnTo>
                      <a:pt x="444" y="170"/>
                    </a:lnTo>
                    <a:lnTo>
                      <a:pt x="440" y="146"/>
                    </a:lnTo>
                    <a:lnTo>
                      <a:pt x="432" y="132"/>
                    </a:lnTo>
                    <a:lnTo>
                      <a:pt x="428" y="134"/>
                    </a:lnTo>
                    <a:lnTo>
                      <a:pt x="428" y="136"/>
                    </a:lnTo>
                    <a:lnTo>
                      <a:pt x="426" y="138"/>
                    </a:lnTo>
                    <a:lnTo>
                      <a:pt x="424" y="132"/>
                    </a:lnTo>
                    <a:lnTo>
                      <a:pt x="426" y="120"/>
                    </a:lnTo>
                    <a:lnTo>
                      <a:pt x="414" y="92"/>
                    </a:lnTo>
                    <a:lnTo>
                      <a:pt x="412" y="82"/>
                    </a:lnTo>
                    <a:lnTo>
                      <a:pt x="418" y="70"/>
                    </a:lnTo>
                    <a:lnTo>
                      <a:pt x="414" y="50"/>
                    </a:lnTo>
                    <a:lnTo>
                      <a:pt x="402" y="22"/>
                    </a:lnTo>
                    <a:lnTo>
                      <a:pt x="402" y="18"/>
                    </a:lnTo>
                    <a:lnTo>
                      <a:pt x="398" y="14"/>
                    </a:lnTo>
                    <a:lnTo>
                      <a:pt x="400" y="10"/>
                    </a:lnTo>
                    <a:lnTo>
                      <a:pt x="394" y="0"/>
                    </a:lnTo>
                    <a:lnTo>
                      <a:pt x="300" y="24"/>
                    </a:lnTo>
                    <a:lnTo>
                      <a:pt x="300" y="20"/>
                    </a:lnTo>
                    <a:lnTo>
                      <a:pt x="296" y="20"/>
                    </a:lnTo>
                    <a:lnTo>
                      <a:pt x="288" y="26"/>
                    </a:lnTo>
                    <a:lnTo>
                      <a:pt x="266" y="48"/>
                    </a:lnTo>
                    <a:lnTo>
                      <a:pt x="244" y="80"/>
                    </a:lnTo>
                    <a:lnTo>
                      <a:pt x="240" y="86"/>
                    </a:lnTo>
                    <a:lnTo>
                      <a:pt x="242" y="90"/>
                    </a:lnTo>
                    <a:lnTo>
                      <a:pt x="238" y="102"/>
                    </a:lnTo>
                    <a:lnTo>
                      <a:pt x="234" y="108"/>
                    </a:lnTo>
                    <a:lnTo>
                      <a:pt x="210" y="130"/>
                    </a:lnTo>
                    <a:lnTo>
                      <a:pt x="208" y="134"/>
                    </a:lnTo>
                    <a:lnTo>
                      <a:pt x="212" y="144"/>
                    </a:lnTo>
                    <a:lnTo>
                      <a:pt x="214" y="146"/>
                    </a:lnTo>
                    <a:lnTo>
                      <a:pt x="220" y="144"/>
                    </a:lnTo>
                    <a:lnTo>
                      <a:pt x="224" y="148"/>
                    </a:lnTo>
                    <a:lnTo>
                      <a:pt x="226" y="154"/>
                    </a:lnTo>
                    <a:lnTo>
                      <a:pt x="220" y="158"/>
                    </a:lnTo>
                    <a:lnTo>
                      <a:pt x="222" y="166"/>
                    </a:lnTo>
                    <a:lnTo>
                      <a:pt x="228" y="174"/>
                    </a:lnTo>
                    <a:lnTo>
                      <a:pt x="228" y="188"/>
                    </a:lnTo>
                    <a:lnTo>
                      <a:pt x="212" y="194"/>
                    </a:lnTo>
                    <a:lnTo>
                      <a:pt x="190" y="218"/>
                    </a:lnTo>
                    <a:lnTo>
                      <a:pt x="174" y="224"/>
                    </a:lnTo>
                    <a:lnTo>
                      <a:pt x="136" y="234"/>
                    </a:lnTo>
                    <a:lnTo>
                      <a:pt x="124" y="230"/>
                    </a:lnTo>
                    <a:lnTo>
                      <a:pt x="114" y="228"/>
                    </a:lnTo>
                    <a:lnTo>
                      <a:pt x="94" y="230"/>
                    </a:lnTo>
                    <a:lnTo>
                      <a:pt x="72" y="234"/>
                    </a:lnTo>
                    <a:lnTo>
                      <a:pt x="52" y="242"/>
                    </a:lnTo>
                    <a:lnTo>
                      <a:pt x="40" y="248"/>
                    </a:lnTo>
                    <a:lnTo>
                      <a:pt x="38" y="262"/>
                    </a:lnTo>
                    <a:lnTo>
                      <a:pt x="38" y="270"/>
                    </a:lnTo>
                    <a:lnTo>
                      <a:pt x="54" y="288"/>
                    </a:lnTo>
                    <a:lnTo>
                      <a:pt x="56" y="296"/>
                    </a:lnTo>
                    <a:lnTo>
                      <a:pt x="54" y="302"/>
                    </a:lnTo>
                    <a:lnTo>
                      <a:pt x="48" y="306"/>
                    </a:lnTo>
                    <a:lnTo>
                      <a:pt x="42" y="320"/>
                    </a:lnTo>
                    <a:lnTo>
                      <a:pt x="12" y="350"/>
                    </a:lnTo>
                    <a:lnTo>
                      <a:pt x="0" y="360"/>
                    </a:lnTo>
                    <a:lnTo>
                      <a:pt x="6" y="386"/>
                    </a:lnTo>
                    <a:lnTo>
                      <a:pt x="324" y="322"/>
                    </a:lnTo>
                    <a:lnTo>
                      <a:pt x="330" y="326"/>
                    </a:lnTo>
                    <a:lnTo>
                      <a:pt x="332" y="330"/>
                    </a:lnTo>
                    <a:lnTo>
                      <a:pt x="334" y="334"/>
                    </a:lnTo>
                    <a:lnTo>
                      <a:pt x="338" y="332"/>
                    </a:lnTo>
                    <a:lnTo>
                      <a:pt x="340" y="336"/>
                    </a:lnTo>
                    <a:lnTo>
                      <a:pt x="346" y="336"/>
                    </a:lnTo>
                    <a:lnTo>
                      <a:pt x="356" y="356"/>
                    </a:lnTo>
                    <a:lnTo>
                      <a:pt x="356" y="362"/>
                    </a:lnTo>
                    <a:lnTo>
                      <a:pt x="360" y="366"/>
                    </a:lnTo>
                    <a:lnTo>
                      <a:pt x="360" y="368"/>
                    </a:lnTo>
                    <a:lnTo>
                      <a:pt x="380" y="370"/>
                    </a:lnTo>
                    <a:lnTo>
                      <a:pt x="386" y="37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Freeform 62">
                <a:extLst>
                  <a:ext uri="{FF2B5EF4-FFF2-40B4-BE49-F238E27FC236}">
                    <a16:creationId xmlns:a16="http://schemas.microsoft.com/office/drawing/2014/main" id="{490CA2AB-5EC2-43E2-8CDF-231FA6B410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38" y="1410"/>
                <a:ext cx="462" cy="301"/>
              </a:xfrm>
              <a:custGeom>
                <a:avLst/>
                <a:gdLst>
                  <a:gd name="T0" fmla="*/ 114 w 460"/>
                  <a:gd name="T1" fmla="*/ 285 h 298"/>
                  <a:gd name="T2" fmla="*/ 323 w 460"/>
                  <a:gd name="T3" fmla="*/ 244 h 298"/>
                  <a:gd name="T4" fmla="*/ 390 w 460"/>
                  <a:gd name="T5" fmla="*/ 232 h 298"/>
                  <a:gd name="T6" fmla="*/ 392 w 460"/>
                  <a:gd name="T7" fmla="*/ 230 h 298"/>
                  <a:gd name="T8" fmla="*/ 394 w 460"/>
                  <a:gd name="T9" fmla="*/ 230 h 298"/>
                  <a:gd name="T10" fmla="*/ 394 w 460"/>
                  <a:gd name="T11" fmla="*/ 224 h 298"/>
                  <a:gd name="T12" fmla="*/ 402 w 460"/>
                  <a:gd name="T13" fmla="*/ 216 h 298"/>
                  <a:gd name="T14" fmla="*/ 410 w 460"/>
                  <a:gd name="T15" fmla="*/ 216 h 298"/>
                  <a:gd name="T16" fmla="*/ 416 w 460"/>
                  <a:gd name="T17" fmla="*/ 218 h 298"/>
                  <a:gd name="T18" fmla="*/ 436 w 460"/>
                  <a:gd name="T19" fmla="*/ 204 h 298"/>
                  <a:gd name="T20" fmla="*/ 438 w 460"/>
                  <a:gd name="T21" fmla="*/ 194 h 298"/>
                  <a:gd name="T22" fmla="*/ 450 w 460"/>
                  <a:gd name="T23" fmla="*/ 182 h 298"/>
                  <a:gd name="T24" fmla="*/ 462 w 460"/>
                  <a:gd name="T25" fmla="*/ 174 h 298"/>
                  <a:gd name="T26" fmla="*/ 462 w 460"/>
                  <a:gd name="T27" fmla="*/ 172 h 298"/>
                  <a:gd name="T28" fmla="*/ 452 w 460"/>
                  <a:gd name="T29" fmla="*/ 164 h 298"/>
                  <a:gd name="T30" fmla="*/ 448 w 460"/>
                  <a:gd name="T31" fmla="*/ 160 h 298"/>
                  <a:gd name="T32" fmla="*/ 442 w 460"/>
                  <a:gd name="T33" fmla="*/ 156 h 298"/>
                  <a:gd name="T34" fmla="*/ 440 w 460"/>
                  <a:gd name="T35" fmla="*/ 154 h 298"/>
                  <a:gd name="T36" fmla="*/ 430 w 460"/>
                  <a:gd name="T37" fmla="*/ 152 h 298"/>
                  <a:gd name="T38" fmla="*/ 428 w 460"/>
                  <a:gd name="T39" fmla="*/ 139 h 298"/>
                  <a:gd name="T40" fmla="*/ 418 w 460"/>
                  <a:gd name="T41" fmla="*/ 137 h 298"/>
                  <a:gd name="T42" fmla="*/ 416 w 460"/>
                  <a:gd name="T43" fmla="*/ 135 h 298"/>
                  <a:gd name="T44" fmla="*/ 416 w 460"/>
                  <a:gd name="T45" fmla="*/ 117 h 298"/>
                  <a:gd name="T46" fmla="*/ 420 w 460"/>
                  <a:gd name="T47" fmla="*/ 115 h 298"/>
                  <a:gd name="T48" fmla="*/ 420 w 460"/>
                  <a:gd name="T49" fmla="*/ 105 h 298"/>
                  <a:gd name="T50" fmla="*/ 414 w 460"/>
                  <a:gd name="T51" fmla="*/ 99 h 298"/>
                  <a:gd name="T52" fmla="*/ 414 w 460"/>
                  <a:gd name="T53" fmla="*/ 95 h 298"/>
                  <a:gd name="T54" fmla="*/ 416 w 460"/>
                  <a:gd name="T55" fmla="*/ 93 h 298"/>
                  <a:gd name="T56" fmla="*/ 424 w 460"/>
                  <a:gd name="T57" fmla="*/ 83 h 298"/>
                  <a:gd name="T58" fmla="*/ 428 w 460"/>
                  <a:gd name="T59" fmla="*/ 69 h 298"/>
                  <a:gd name="T60" fmla="*/ 428 w 460"/>
                  <a:gd name="T61" fmla="*/ 65 h 298"/>
                  <a:gd name="T62" fmla="*/ 432 w 460"/>
                  <a:gd name="T63" fmla="*/ 57 h 298"/>
                  <a:gd name="T64" fmla="*/ 436 w 460"/>
                  <a:gd name="T65" fmla="*/ 53 h 298"/>
                  <a:gd name="T66" fmla="*/ 430 w 460"/>
                  <a:gd name="T67" fmla="*/ 48 h 298"/>
                  <a:gd name="T68" fmla="*/ 410 w 460"/>
                  <a:gd name="T69" fmla="*/ 46 h 298"/>
                  <a:gd name="T70" fmla="*/ 410 w 460"/>
                  <a:gd name="T71" fmla="*/ 44 h 298"/>
                  <a:gd name="T72" fmla="*/ 406 w 460"/>
                  <a:gd name="T73" fmla="*/ 40 h 298"/>
                  <a:gd name="T74" fmla="*/ 406 w 460"/>
                  <a:gd name="T75" fmla="*/ 34 h 298"/>
                  <a:gd name="T76" fmla="*/ 396 w 460"/>
                  <a:gd name="T77" fmla="*/ 14 h 298"/>
                  <a:gd name="T78" fmla="*/ 390 w 460"/>
                  <a:gd name="T79" fmla="*/ 14 h 298"/>
                  <a:gd name="T80" fmla="*/ 388 w 460"/>
                  <a:gd name="T81" fmla="*/ 10 h 298"/>
                  <a:gd name="T82" fmla="*/ 384 w 460"/>
                  <a:gd name="T83" fmla="*/ 12 h 298"/>
                  <a:gd name="T84" fmla="*/ 382 w 460"/>
                  <a:gd name="T85" fmla="*/ 8 h 298"/>
                  <a:gd name="T86" fmla="*/ 380 w 460"/>
                  <a:gd name="T87" fmla="*/ 4 h 298"/>
                  <a:gd name="T88" fmla="*/ 374 w 460"/>
                  <a:gd name="T89" fmla="*/ 0 h 298"/>
                  <a:gd name="T90" fmla="*/ 54 w 460"/>
                  <a:gd name="T91" fmla="*/ 65 h 298"/>
                  <a:gd name="T92" fmla="*/ 48 w 460"/>
                  <a:gd name="T93" fmla="*/ 38 h 298"/>
                  <a:gd name="T94" fmla="*/ 32 w 460"/>
                  <a:gd name="T95" fmla="*/ 55 h 298"/>
                  <a:gd name="T96" fmla="*/ 28 w 460"/>
                  <a:gd name="T97" fmla="*/ 57 h 298"/>
                  <a:gd name="T98" fmla="*/ 26 w 460"/>
                  <a:gd name="T99" fmla="*/ 53 h 298"/>
                  <a:gd name="T100" fmla="*/ 24 w 460"/>
                  <a:gd name="T101" fmla="*/ 53 h 298"/>
                  <a:gd name="T102" fmla="*/ 20 w 460"/>
                  <a:gd name="T103" fmla="*/ 63 h 298"/>
                  <a:gd name="T104" fmla="*/ 4 w 460"/>
                  <a:gd name="T105" fmla="*/ 75 h 298"/>
                  <a:gd name="T106" fmla="*/ 0 w 460"/>
                  <a:gd name="T107" fmla="*/ 79 h 298"/>
                  <a:gd name="T108" fmla="*/ 22 w 460"/>
                  <a:gd name="T109" fmla="*/ 212 h 298"/>
                  <a:gd name="T110" fmla="*/ 38 w 460"/>
                  <a:gd name="T111" fmla="*/ 301 h 298"/>
                  <a:gd name="T112" fmla="*/ 114 w 460"/>
                  <a:gd name="T113" fmla="*/ 285 h 29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460" h="298">
                    <a:moveTo>
                      <a:pt x="114" y="282"/>
                    </a:moveTo>
                    <a:lnTo>
                      <a:pt x="322" y="242"/>
                    </a:lnTo>
                    <a:lnTo>
                      <a:pt x="388" y="230"/>
                    </a:lnTo>
                    <a:lnTo>
                      <a:pt x="390" y="228"/>
                    </a:lnTo>
                    <a:lnTo>
                      <a:pt x="392" y="228"/>
                    </a:lnTo>
                    <a:lnTo>
                      <a:pt x="392" y="222"/>
                    </a:lnTo>
                    <a:lnTo>
                      <a:pt x="400" y="214"/>
                    </a:lnTo>
                    <a:lnTo>
                      <a:pt x="408" y="214"/>
                    </a:lnTo>
                    <a:lnTo>
                      <a:pt x="414" y="216"/>
                    </a:lnTo>
                    <a:lnTo>
                      <a:pt x="434" y="202"/>
                    </a:lnTo>
                    <a:lnTo>
                      <a:pt x="436" y="192"/>
                    </a:lnTo>
                    <a:lnTo>
                      <a:pt x="448" y="180"/>
                    </a:lnTo>
                    <a:lnTo>
                      <a:pt x="460" y="172"/>
                    </a:lnTo>
                    <a:lnTo>
                      <a:pt x="460" y="170"/>
                    </a:lnTo>
                    <a:lnTo>
                      <a:pt x="450" y="162"/>
                    </a:lnTo>
                    <a:lnTo>
                      <a:pt x="446" y="158"/>
                    </a:lnTo>
                    <a:lnTo>
                      <a:pt x="440" y="154"/>
                    </a:lnTo>
                    <a:lnTo>
                      <a:pt x="438" y="152"/>
                    </a:lnTo>
                    <a:lnTo>
                      <a:pt x="428" y="150"/>
                    </a:lnTo>
                    <a:lnTo>
                      <a:pt x="426" y="138"/>
                    </a:lnTo>
                    <a:lnTo>
                      <a:pt x="416" y="136"/>
                    </a:lnTo>
                    <a:lnTo>
                      <a:pt x="414" y="134"/>
                    </a:lnTo>
                    <a:lnTo>
                      <a:pt x="414" y="116"/>
                    </a:lnTo>
                    <a:lnTo>
                      <a:pt x="418" y="114"/>
                    </a:lnTo>
                    <a:lnTo>
                      <a:pt x="418" y="104"/>
                    </a:lnTo>
                    <a:lnTo>
                      <a:pt x="412" y="98"/>
                    </a:lnTo>
                    <a:lnTo>
                      <a:pt x="412" y="94"/>
                    </a:lnTo>
                    <a:lnTo>
                      <a:pt x="414" y="92"/>
                    </a:lnTo>
                    <a:lnTo>
                      <a:pt x="422" y="82"/>
                    </a:lnTo>
                    <a:lnTo>
                      <a:pt x="426" y="68"/>
                    </a:lnTo>
                    <a:lnTo>
                      <a:pt x="426" y="64"/>
                    </a:lnTo>
                    <a:lnTo>
                      <a:pt x="430" y="56"/>
                    </a:lnTo>
                    <a:lnTo>
                      <a:pt x="434" y="52"/>
                    </a:lnTo>
                    <a:lnTo>
                      <a:pt x="428" y="48"/>
                    </a:lnTo>
                    <a:lnTo>
                      <a:pt x="408" y="46"/>
                    </a:lnTo>
                    <a:lnTo>
                      <a:pt x="408" y="44"/>
                    </a:lnTo>
                    <a:lnTo>
                      <a:pt x="404" y="40"/>
                    </a:lnTo>
                    <a:lnTo>
                      <a:pt x="404" y="34"/>
                    </a:lnTo>
                    <a:lnTo>
                      <a:pt x="394" y="14"/>
                    </a:lnTo>
                    <a:lnTo>
                      <a:pt x="388" y="14"/>
                    </a:lnTo>
                    <a:lnTo>
                      <a:pt x="386" y="10"/>
                    </a:lnTo>
                    <a:lnTo>
                      <a:pt x="382" y="12"/>
                    </a:lnTo>
                    <a:lnTo>
                      <a:pt x="380" y="8"/>
                    </a:lnTo>
                    <a:lnTo>
                      <a:pt x="378" y="4"/>
                    </a:lnTo>
                    <a:lnTo>
                      <a:pt x="372" y="0"/>
                    </a:lnTo>
                    <a:lnTo>
                      <a:pt x="54" y="64"/>
                    </a:lnTo>
                    <a:lnTo>
                      <a:pt x="48" y="38"/>
                    </a:lnTo>
                    <a:lnTo>
                      <a:pt x="32" y="54"/>
                    </a:lnTo>
                    <a:lnTo>
                      <a:pt x="28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0" y="62"/>
                    </a:lnTo>
                    <a:lnTo>
                      <a:pt x="4" y="74"/>
                    </a:lnTo>
                    <a:lnTo>
                      <a:pt x="0" y="78"/>
                    </a:lnTo>
                    <a:lnTo>
                      <a:pt x="22" y="210"/>
                    </a:lnTo>
                    <a:lnTo>
                      <a:pt x="38" y="298"/>
                    </a:lnTo>
                    <a:lnTo>
                      <a:pt x="114" y="28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Freeform 63">
                <a:extLst>
                  <a:ext uri="{FF2B5EF4-FFF2-40B4-BE49-F238E27FC236}">
                    <a16:creationId xmlns:a16="http://schemas.microsoft.com/office/drawing/2014/main" id="{B52CB298-9A99-49AA-BD77-2136FA0A8E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48" y="1347"/>
                <a:ext cx="135" cy="132"/>
              </a:xfrm>
              <a:custGeom>
                <a:avLst/>
                <a:gdLst>
                  <a:gd name="T0" fmla="*/ 0 w 134"/>
                  <a:gd name="T1" fmla="*/ 30 h 134"/>
                  <a:gd name="T2" fmla="*/ 46 w 134"/>
                  <a:gd name="T3" fmla="*/ 18 h 134"/>
                  <a:gd name="T4" fmla="*/ 50 w 134"/>
                  <a:gd name="T5" fmla="*/ 24 h 134"/>
                  <a:gd name="T6" fmla="*/ 50 w 134"/>
                  <a:gd name="T7" fmla="*/ 22 h 134"/>
                  <a:gd name="T8" fmla="*/ 52 w 134"/>
                  <a:gd name="T9" fmla="*/ 18 h 134"/>
                  <a:gd name="T10" fmla="*/ 121 w 134"/>
                  <a:gd name="T11" fmla="*/ 0 h 134"/>
                  <a:gd name="T12" fmla="*/ 135 w 134"/>
                  <a:gd name="T13" fmla="*/ 55 h 134"/>
                  <a:gd name="T14" fmla="*/ 133 w 134"/>
                  <a:gd name="T15" fmla="*/ 61 h 134"/>
                  <a:gd name="T16" fmla="*/ 133 w 134"/>
                  <a:gd name="T17" fmla="*/ 63 h 134"/>
                  <a:gd name="T18" fmla="*/ 133 w 134"/>
                  <a:gd name="T19" fmla="*/ 67 h 134"/>
                  <a:gd name="T20" fmla="*/ 133 w 134"/>
                  <a:gd name="T21" fmla="*/ 69 h 134"/>
                  <a:gd name="T22" fmla="*/ 125 w 134"/>
                  <a:gd name="T23" fmla="*/ 69 h 134"/>
                  <a:gd name="T24" fmla="*/ 103 w 134"/>
                  <a:gd name="T25" fmla="*/ 79 h 134"/>
                  <a:gd name="T26" fmla="*/ 97 w 134"/>
                  <a:gd name="T27" fmla="*/ 79 h 134"/>
                  <a:gd name="T28" fmla="*/ 95 w 134"/>
                  <a:gd name="T29" fmla="*/ 81 h 134"/>
                  <a:gd name="T30" fmla="*/ 93 w 134"/>
                  <a:gd name="T31" fmla="*/ 85 h 134"/>
                  <a:gd name="T32" fmla="*/ 93 w 134"/>
                  <a:gd name="T33" fmla="*/ 87 h 134"/>
                  <a:gd name="T34" fmla="*/ 79 w 134"/>
                  <a:gd name="T35" fmla="*/ 89 h 134"/>
                  <a:gd name="T36" fmla="*/ 60 w 134"/>
                  <a:gd name="T37" fmla="*/ 97 h 134"/>
                  <a:gd name="T38" fmla="*/ 58 w 134"/>
                  <a:gd name="T39" fmla="*/ 93 h 134"/>
                  <a:gd name="T40" fmla="*/ 46 w 134"/>
                  <a:gd name="T41" fmla="*/ 104 h 134"/>
                  <a:gd name="T42" fmla="*/ 20 w 134"/>
                  <a:gd name="T43" fmla="*/ 126 h 134"/>
                  <a:gd name="T44" fmla="*/ 10 w 134"/>
                  <a:gd name="T45" fmla="*/ 132 h 134"/>
                  <a:gd name="T46" fmla="*/ 2 w 134"/>
                  <a:gd name="T47" fmla="*/ 124 h 134"/>
                  <a:gd name="T48" fmla="*/ 14 w 134"/>
                  <a:gd name="T49" fmla="*/ 112 h 134"/>
                  <a:gd name="T50" fmla="*/ 14 w 134"/>
                  <a:gd name="T51" fmla="*/ 108 h 134"/>
                  <a:gd name="T52" fmla="*/ 10 w 134"/>
                  <a:gd name="T53" fmla="*/ 100 h 134"/>
                  <a:gd name="T54" fmla="*/ 0 w 134"/>
                  <a:gd name="T55" fmla="*/ 30 h 1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34" h="134">
                    <a:moveTo>
                      <a:pt x="0" y="30"/>
                    </a:moveTo>
                    <a:lnTo>
                      <a:pt x="46" y="18"/>
                    </a:lnTo>
                    <a:lnTo>
                      <a:pt x="50" y="24"/>
                    </a:lnTo>
                    <a:lnTo>
                      <a:pt x="50" y="22"/>
                    </a:lnTo>
                    <a:lnTo>
                      <a:pt x="52" y="18"/>
                    </a:lnTo>
                    <a:lnTo>
                      <a:pt x="120" y="0"/>
                    </a:lnTo>
                    <a:lnTo>
                      <a:pt x="134" y="56"/>
                    </a:lnTo>
                    <a:lnTo>
                      <a:pt x="132" y="62"/>
                    </a:lnTo>
                    <a:lnTo>
                      <a:pt x="132" y="64"/>
                    </a:lnTo>
                    <a:lnTo>
                      <a:pt x="132" y="68"/>
                    </a:lnTo>
                    <a:lnTo>
                      <a:pt x="132" y="70"/>
                    </a:lnTo>
                    <a:lnTo>
                      <a:pt x="124" y="70"/>
                    </a:lnTo>
                    <a:lnTo>
                      <a:pt x="102" y="80"/>
                    </a:lnTo>
                    <a:lnTo>
                      <a:pt x="96" y="80"/>
                    </a:lnTo>
                    <a:lnTo>
                      <a:pt x="94" y="82"/>
                    </a:lnTo>
                    <a:lnTo>
                      <a:pt x="92" y="86"/>
                    </a:lnTo>
                    <a:lnTo>
                      <a:pt x="92" y="88"/>
                    </a:lnTo>
                    <a:lnTo>
                      <a:pt x="78" y="90"/>
                    </a:lnTo>
                    <a:lnTo>
                      <a:pt x="60" y="98"/>
                    </a:lnTo>
                    <a:lnTo>
                      <a:pt x="58" y="94"/>
                    </a:lnTo>
                    <a:lnTo>
                      <a:pt x="46" y="106"/>
                    </a:lnTo>
                    <a:lnTo>
                      <a:pt x="20" y="128"/>
                    </a:lnTo>
                    <a:lnTo>
                      <a:pt x="10" y="134"/>
                    </a:lnTo>
                    <a:lnTo>
                      <a:pt x="2" y="126"/>
                    </a:lnTo>
                    <a:lnTo>
                      <a:pt x="14" y="114"/>
                    </a:lnTo>
                    <a:lnTo>
                      <a:pt x="14" y="110"/>
                    </a:lnTo>
                    <a:lnTo>
                      <a:pt x="10" y="102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Freeform 64">
                <a:extLst>
                  <a:ext uri="{FF2B5EF4-FFF2-40B4-BE49-F238E27FC236}">
                    <a16:creationId xmlns:a16="http://schemas.microsoft.com/office/drawing/2014/main" id="{461B0738-F1E3-4BAD-A26A-E8BE70FFF7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7" y="1417"/>
                <a:ext cx="476" cy="313"/>
              </a:xfrm>
              <a:custGeom>
                <a:avLst/>
                <a:gdLst>
                  <a:gd name="T0" fmla="*/ 386 w 474"/>
                  <a:gd name="T1" fmla="*/ 0 h 312"/>
                  <a:gd name="T2" fmla="*/ 400 w 474"/>
                  <a:gd name="T3" fmla="*/ 18 h 312"/>
                  <a:gd name="T4" fmla="*/ 394 w 474"/>
                  <a:gd name="T5" fmla="*/ 34 h 312"/>
                  <a:gd name="T6" fmla="*/ 404 w 474"/>
                  <a:gd name="T7" fmla="*/ 74 h 312"/>
                  <a:gd name="T8" fmla="*/ 434 w 474"/>
                  <a:gd name="T9" fmla="*/ 88 h 312"/>
                  <a:gd name="T10" fmla="*/ 440 w 474"/>
                  <a:gd name="T11" fmla="*/ 102 h 312"/>
                  <a:gd name="T12" fmla="*/ 456 w 474"/>
                  <a:gd name="T13" fmla="*/ 122 h 312"/>
                  <a:gd name="T14" fmla="*/ 476 w 474"/>
                  <a:gd name="T15" fmla="*/ 148 h 312"/>
                  <a:gd name="T16" fmla="*/ 470 w 474"/>
                  <a:gd name="T17" fmla="*/ 167 h 312"/>
                  <a:gd name="T18" fmla="*/ 464 w 474"/>
                  <a:gd name="T19" fmla="*/ 181 h 312"/>
                  <a:gd name="T20" fmla="*/ 440 w 474"/>
                  <a:gd name="T21" fmla="*/ 199 h 312"/>
                  <a:gd name="T22" fmla="*/ 420 w 474"/>
                  <a:gd name="T23" fmla="*/ 205 h 312"/>
                  <a:gd name="T24" fmla="*/ 408 w 474"/>
                  <a:gd name="T25" fmla="*/ 219 h 312"/>
                  <a:gd name="T26" fmla="*/ 418 w 474"/>
                  <a:gd name="T27" fmla="*/ 237 h 312"/>
                  <a:gd name="T28" fmla="*/ 418 w 474"/>
                  <a:gd name="T29" fmla="*/ 257 h 312"/>
                  <a:gd name="T30" fmla="*/ 396 w 474"/>
                  <a:gd name="T31" fmla="*/ 289 h 312"/>
                  <a:gd name="T32" fmla="*/ 394 w 474"/>
                  <a:gd name="T33" fmla="*/ 305 h 312"/>
                  <a:gd name="T34" fmla="*/ 364 w 474"/>
                  <a:gd name="T35" fmla="*/ 291 h 312"/>
                  <a:gd name="T36" fmla="*/ 60 w 474"/>
                  <a:gd name="T37" fmla="*/ 295 h 312"/>
                  <a:gd name="T38" fmla="*/ 60 w 474"/>
                  <a:gd name="T39" fmla="*/ 277 h 312"/>
                  <a:gd name="T40" fmla="*/ 52 w 474"/>
                  <a:gd name="T41" fmla="*/ 261 h 312"/>
                  <a:gd name="T42" fmla="*/ 54 w 474"/>
                  <a:gd name="T43" fmla="*/ 245 h 312"/>
                  <a:gd name="T44" fmla="*/ 46 w 474"/>
                  <a:gd name="T45" fmla="*/ 225 h 312"/>
                  <a:gd name="T46" fmla="*/ 46 w 474"/>
                  <a:gd name="T47" fmla="*/ 209 h 312"/>
                  <a:gd name="T48" fmla="*/ 34 w 474"/>
                  <a:gd name="T49" fmla="*/ 193 h 312"/>
                  <a:gd name="T50" fmla="*/ 28 w 474"/>
                  <a:gd name="T51" fmla="*/ 177 h 312"/>
                  <a:gd name="T52" fmla="*/ 14 w 474"/>
                  <a:gd name="T53" fmla="*/ 152 h 312"/>
                  <a:gd name="T54" fmla="*/ 20 w 474"/>
                  <a:gd name="T55" fmla="*/ 132 h 312"/>
                  <a:gd name="T56" fmla="*/ 8 w 474"/>
                  <a:gd name="T57" fmla="*/ 116 h 312"/>
                  <a:gd name="T58" fmla="*/ 6 w 474"/>
                  <a:gd name="T59" fmla="*/ 102 h 312"/>
                  <a:gd name="T60" fmla="*/ 6 w 474"/>
                  <a:gd name="T61" fmla="*/ 68 h 312"/>
                  <a:gd name="T62" fmla="*/ 12 w 474"/>
                  <a:gd name="T63" fmla="*/ 54 h 312"/>
                  <a:gd name="T64" fmla="*/ 2 w 474"/>
                  <a:gd name="T65" fmla="*/ 34 h 312"/>
                  <a:gd name="T66" fmla="*/ 4 w 474"/>
                  <a:gd name="T67" fmla="*/ 18 h 312"/>
                  <a:gd name="T68" fmla="*/ 6 w 474"/>
                  <a:gd name="T69" fmla="*/ 10 h 31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74" h="312">
                    <a:moveTo>
                      <a:pt x="12" y="12"/>
                    </a:moveTo>
                    <a:lnTo>
                      <a:pt x="384" y="0"/>
                    </a:lnTo>
                    <a:lnTo>
                      <a:pt x="390" y="12"/>
                    </a:lnTo>
                    <a:lnTo>
                      <a:pt x="398" y="18"/>
                    </a:lnTo>
                    <a:lnTo>
                      <a:pt x="396" y="26"/>
                    </a:lnTo>
                    <a:lnTo>
                      <a:pt x="392" y="34"/>
                    </a:lnTo>
                    <a:lnTo>
                      <a:pt x="396" y="46"/>
                    </a:lnTo>
                    <a:lnTo>
                      <a:pt x="402" y="74"/>
                    </a:lnTo>
                    <a:lnTo>
                      <a:pt x="424" y="82"/>
                    </a:lnTo>
                    <a:lnTo>
                      <a:pt x="432" y="88"/>
                    </a:lnTo>
                    <a:lnTo>
                      <a:pt x="434" y="98"/>
                    </a:lnTo>
                    <a:lnTo>
                      <a:pt x="438" y="102"/>
                    </a:lnTo>
                    <a:lnTo>
                      <a:pt x="452" y="114"/>
                    </a:lnTo>
                    <a:lnTo>
                      <a:pt x="454" y="122"/>
                    </a:lnTo>
                    <a:lnTo>
                      <a:pt x="468" y="130"/>
                    </a:lnTo>
                    <a:lnTo>
                      <a:pt x="474" y="148"/>
                    </a:lnTo>
                    <a:lnTo>
                      <a:pt x="472" y="156"/>
                    </a:lnTo>
                    <a:lnTo>
                      <a:pt x="468" y="166"/>
                    </a:lnTo>
                    <a:lnTo>
                      <a:pt x="462" y="172"/>
                    </a:lnTo>
                    <a:lnTo>
                      <a:pt x="462" y="180"/>
                    </a:lnTo>
                    <a:lnTo>
                      <a:pt x="450" y="194"/>
                    </a:lnTo>
                    <a:lnTo>
                      <a:pt x="438" y="198"/>
                    </a:lnTo>
                    <a:lnTo>
                      <a:pt x="434" y="202"/>
                    </a:lnTo>
                    <a:lnTo>
                      <a:pt x="418" y="204"/>
                    </a:lnTo>
                    <a:lnTo>
                      <a:pt x="412" y="208"/>
                    </a:lnTo>
                    <a:lnTo>
                      <a:pt x="406" y="218"/>
                    </a:lnTo>
                    <a:lnTo>
                      <a:pt x="408" y="226"/>
                    </a:lnTo>
                    <a:lnTo>
                      <a:pt x="416" y="236"/>
                    </a:lnTo>
                    <a:lnTo>
                      <a:pt x="420" y="242"/>
                    </a:lnTo>
                    <a:lnTo>
                      <a:pt x="416" y="256"/>
                    </a:lnTo>
                    <a:lnTo>
                      <a:pt x="406" y="282"/>
                    </a:lnTo>
                    <a:lnTo>
                      <a:pt x="394" y="288"/>
                    </a:lnTo>
                    <a:lnTo>
                      <a:pt x="390" y="296"/>
                    </a:lnTo>
                    <a:lnTo>
                      <a:pt x="392" y="304"/>
                    </a:lnTo>
                    <a:lnTo>
                      <a:pt x="386" y="312"/>
                    </a:lnTo>
                    <a:lnTo>
                      <a:pt x="362" y="290"/>
                    </a:lnTo>
                    <a:lnTo>
                      <a:pt x="62" y="298"/>
                    </a:lnTo>
                    <a:lnTo>
                      <a:pt x="60" y="294"/>
                    </a:lnTo>
                    <a:lnTo>
                      <a:pt x="56" y="284"/>
                    </a:lnTo>
                    <a:lnTo>
                      <a:pt x="60" y="276"/>
                    </a:lnTo>
                    <a:lnTo>
                      <a:pt x="54" y="268"/>
                    </a:lnTo>
                    <a:lnTo>
                      <a:pt x="52" y="260"/>
                    </a:lnTo>
                    <a:lnTo>
                      <a:pt x="56" y="252"/>
                    </a:lnTo>
                    <a:lnTo>
                      <a:pt x="54" y="244"/>
                    </a:lnTo>
                    <a:lnTo>
                      <a:pt x="44" y="240"/>
                    </a:lnTo>
                    <a:lnTo>
                      <a:pt x="46" y="224"/>
                    </a:lnTo>
                    <a:lnTo>
                      <a:pt x="48" y="216"/>
                    </a:lnTo>
                    <a:lnTo>
                      <a:pt x="46" y="208"/>
                    </a:lnTo>
                    <a:lnTo>
                      <a:pt x="36" y="200"/>
                    </a:lnTo>
                    <a:lnTo>
                      <a:pt x="34" y="192"/>
                    </a:lnTo>
                    <a:lnTo>
                      <a:pt x="36" y="184"/>
                    </a:lnTo>
                    <a:lnTo>
                      <a:pt x="28" y="176"/>
                    </a:lnTo>
                    <a:lnTo>
                      <a:pt x="22" y="160"/>
                    </a:lnTo>
                    <a:lnTo>
                      <a:pt x="14" y="152"/>
                    </a:lnTo>
                    <a:lnTo>
                      <a:pt x="20" y="138"/>
                    </a:lnTo>
                    <a:lnTo>
                      <a:pt x="20" y="132"/>
                    </a:lnTo>
                    <a:lnTo>
                      <a:pt x="10" y="126"/>
                    </a:lnTo>
                    <a:lnTo>
                      <a:pt x="8" y="116"/>
                    </a:lnTo>
                    <a:lnTo>
                      <a:pt x="10" y="112"/>
                    </a:lnTo>
                    <a:lnTo>
                      <a:pt x="6" y="102"/>
                    </a:lnTo>
                    <a:lnTo>
                      <a:pt x="0" y="84"/>
                    </a:lnTo>
                    <a:lnTo>
                      <a:pt x="6" y="68"/>
                    </a:lnTo>
                    <a:lnTo>
                      <a:pt x="6" y="58"/>
                    </a:lnTo>
                    <a:lnTo>
                      <a:pt x="12" y="54"/>
                    </a:lnTo>
                    <a:lnTo>
                      <a:pt x="8" y="38"/>
                    </a:lnTo>
                    <a:lnTo>
                      <a:pt x="2" y="34"/>
                    </a:lnTo>
                    <a:lnTo>
                      <a:pt x="6" y="24"/>
                    </a:lnTo>
                    <a:lnTo>
                      <a:pt x="4" y="18"/>
                    </a:lnTo>
                    <a:lnTo>
                      <a:pt x="0" y="12"/>
                    </a:lnTo>
                    <a:lnTo>
                      <a:pt x="6" y="10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Freeform 65">
                <a:extLst>
                  <a:ext uri="{FF2B5EF4-FFF2-40B4-BE49-F238E27FC236}">
                    <a16:creationId xmlns:a16="http://schemas.microsoft.com/office/drawing/2014/main" id="{6B5193CD-7856-465B-B71C-04301F1139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8" y="842"/>
                <a:ext cx="523" cy="587"/>
              </a:xfrm>
              <a:custGeom>
                <a:avLst/>
                <a:gdLst>
                  <a:gd name="T0" fmla="*/ 50 w 518"/>
                  <a:gd name="T1" fmla="*/ 404 h 584"/>
                  <a:gd name="T2" fmla="*/ 22 w 518"/>
                  <a:gd name="T3" fmla="*/ 372 h 584"/>
                  <a:gd name="T4" fmla="*/ 40 w 518"/>
                  <a:gd name="T5" fmla="*/ 348 h 584"/>
                  <a:gd name="T6" fmla="*/ 40 w 518"/>
                  <a:gd name="T7" fmla="*/ 326 h 584"/>
                  <a:gd name="T8" fmla="*/ 30 w 518"/>
                  <a:gd name="T9" fmla="*/ 275 h 584"/>
                  <a:gd name="T10" fmla="*/ 28 w 518"/>
                  <a:gd name="T11" fmla="*/ 251 h 584"/>
                  <a:gd name="T12" fmla="*/ 24 w 518"/>
                  <a:gd name="T13" fmla="*/ 191 h 584"/>
                  <a:gd name="T14" fmla="*/ 10 w 518"/>
                  <a:gd name="T15" fmla="*/ 153 h 584"/>
                  <a:gd name="T16" fmla="*/ 2 w 518"/>
                  <a:gd name="T17" fmla="*/ 92 h 584"/>
                  <a:gd name="T18" fmla="*/ 8 w 518"/>
                  <a:gd name="T19" fmla="*/ 68 h 584"/>
                  <a:gd name="T20" fmla="*/ 0 w 518"/>
                  <a:gd name="T21" fmla="*/ 36 h 584"/>
                  <a:gd name="T22" fmla="*/ 135 w 518"/>
                  <a:gd name="T23" fmla="*/ 14 h 584"/>
                  <a:gd name="T24" fmla="*/ 147 w 518"/>
                  <a:gd name="T25" fmla="*/ 0 h 584"/>
                  <a:gd name="T26" fmla="*/ 164 w 518"/>
                  <a:gd name="T27" fmla="*/ 28 h 584"/>
                  <a:gd name="T28" fmla="*/ 166 w 518"/>
                  <a:gd name="T29" fmla="*/ 56 h 584"/>
                  <a:gd name="T30" fmla="*/ 186 w 518"/>
                  <a:gd name="T31" fmla="*/ 64 h 584"/>
                  <a:gd name="T32" fmla="*/ 202 w 518"/>
                  <a:gd name="T33" fmla="*/ 72 h 584"/>
                  <a:gd name="T34" fmla="*/ 226 w 518"/>
                  <a:gd name="T35" fmla="*/ 72 h 584"/>
                  <a:gd name="T36" fmla="*/ 228 w 518"/>
                  <a:gd name="T37" fmla="*/ 82 h 584"/>
                  <a:gd name="T38" fmla="*/ 254 w 518"/>
                  <a:gd name="T39" fmla="*/ 74 h 584"/>
                  <a:gd name="T40" fmla="*/ 303 w 518"/>
                  <a:gd name="T41" fmla="*/ 78 h 584"/>
                  <a:gd name="T42" fmla="*/ 305 w 518"/>
                  <a:gd name="T43" fmla="*/ 82 h 584"/>
                  <a:gd name="T44" fmla="*/ 313 w 518"/>
                  <a:gd name="T45" fmla="*/ 86 h 584"/>
                  <a:gd name="T46" fmla="*/ 321 w 518"/>
                  <a:gd name="T47" fmla="*/ 103 h 584"/>
                  <a:gd name="T48" fmla="*/ 335 w 518"/>
                  <a:gd name="T49" fmla="*/ 96 h 584"/>
                  <a:gd name="T50" fmla="*/ 347 w 518"/>
                  <a:gd name="T51" fmla="*/ 96 h 584"/>
                  <a:gd name="T52" fmla="*/ 368 w 518"/>
                  <a:gd name="T53" fmla="*/ 111 h 584"/>
                  <a:gd name="T54" fmla="*/ 380 w 518"/>
                  <a:gd name="T55" fmla="*/ 123 h 584"/>
                  <a:gd name="T56" fmla="*/ 400 w 518"/>
                  <a:gd name="T57" fmla="*/ 121 h 584"/>
                  <a:gd name="T58" fmla="*/ 430 w 518"/>
                  <a:gd name="T59" fmla="*/ 105 h 584"/>
                  <a:gd name="T60" fmla="*/ 475 w 518"/>
                  <a:gd name="T61" fmla="*/ 113 h 584"/>
                  <a:gd name="T62" fmla="*/ 487 w 518"/>
                  <a:gd name="T63" fmla="*/ 117 h 584"/>
                  <a:gd name="T64" fmla="*/ 505 w 518"/>
                  <a:gd name="T65" fmla="*/ 121 h 584"/>
                  <a:gd name="T66" fmla="*/ 513 w 518"/>
                  <a:gd name="T67" fmla="*/ 129 h 584"/>
                  <a:gd name="T68" fmla="*/ 477 w 518"/>
                  <a:gd name="T69" fmla="*/ 145 h 584"/>
                  <a:gd name="T70" fmla="*/ 458 w 518"/>
                  <a:gd name="T71" fmla="*/ 159 h 584"/>
                  <a:gd name="T72" fmla="*/ 428 w 518"/>
                  <a:gd name="T73" fmla="*/ 175 h 584"/>
                  <a:gd name="T74" fmla="*/ 347 w 518"/>
                  <a:gd name="T75" fmla="*/ 253 h 584"/>
                  <a:gd name="T76" fmla="*/ 337 w 518"/>
                  <a:gd name="T77" fmla="*/ 265 h 584"/>
                  <a:gd name="T78" fmla="*/ 335 w 518"/>
                  <a:gd name="T79" fmla="*/ 326 h 584"/>
                  <a:gd name="T80" fmla="*/ 307 w 518"/>
                  <a:gd name="T81" fmla="*/ 344 h 584"/>
                  <a:gd name="T82" fmla="*/ 305 w 518"/>
                  <a:gd name="T83" fmla="*/ 356 h 584"/>
                  <a:gd name="T84" fmla="*/ 309 w 518"/>
                  <a:gd name="T85" fmla="*/ 376 h 584"/>
                  <a:gd name="T86" fmla="*/ 311 w 518"/>
                  <a:gd name="T87" fmla="*/ 400 h 584"/>
                  <a:gd name="T88" fmla="*/ 309 w 518"/>
                  <a:gd name="T89" fmla="*/ 428 h 584"/>
                  <a:gd name="T90" fmla="*/ 313 w 518"/>
                  <a:gd name="T91" fmla="*/ 458 h 584"/>
                  <a:gd name="T92" fmla="*/ 323 w 518"/>
                  <a:gd name="T93" fmla="*/ 468 h 584"/>
                  <a:gd name="T94" fmla="*/ 345 w 518"/>
                  <a:gd name="T95" fmla="*/ 474 h 584"/>
                  <a:gd name="T96" fmla="*/ 351 w 518"/>
                  <a:gd name="T97" fmla="*/ 482 h 584"/>
                  <a:gd name="T98" fmla="*/ 380 w 518"/>
                  <a:gd name="T99" fmla="*/ 507 h 584"/>
                  <a:gd name="T100" fmla="*/ 422 w 518"/>
                  <a:gd name="T101" fmla="*/ 537 h 584"/>
                  <a:gd name="T102" fmla="*/ 424 w 518"/>
                  <a:gd name="T103" fmla="*/ 555 h 584"/>
                  <a:gd name="T104" fmla="*/ 50 w 518"/>
                  <a:gd name="T105" fmla="*/ 587 h 58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18" h="584">
                    <a:moveTo>
                      <a:pt x="50" y="584"/>
                    </a:moveTo>
                    <a:lnTo>
                      <a:pt x="50" y="402"/>
                    </a:lnTo>
                    <a:lnTo>
                      <a:pt x="24" y="378"/>
                    </a:lnTo>
                    <a:lnTo>
                      <a:pt x="22" y="370"/>
                    </a:lnTo>
                    <a:lnTo>
                      <a:pt x="36" y="356"/>
                    </a:lnTo>
                    <a:lnTo>
                      <a:pt x="40" y="346"/>
                    </a:lnTo>
                    <a:lnTo>
                      <a:pt x="40" y="338"/>
                    </a:lnTo>
                    <a:lnTo>
                      <a:pt x="40" y="324"/>
                    </a:lnTo>
                    <a:lnTo>
                      <a:pt x="40" y="310"/>
                    </a:lnTo>
                    <a:lnTo>
                      <a:pt x="30" y="274"/>
                    </a:lnTo>
                    <a:lnTo>
                      <a:pt x="28" y="268"/>
                    </a:lnTo>
                    <a:lnTo>
                      <a:pt x="28" y="250"/>
                    </a:lnTo>
                    <a:lnTo>
                      <a:pt x="26" y="240"/>
                    </a:lnTo>
                    <a:lnTo>
                      <a:pt x="24" y="190"/>
                    </a:lnTo>
                    <a:lnTo>
                      <a:pt x="18" y="160"/>
                    </a:lnTo>
                    <a:lnTo>
                      <a:pt x="10" y="152"/>
                    </a:lnTo>
                    <a:lnTo>
                      <a:pt x="4" y="120"/>
                    </a:lnTo>
                    <a:lnTo>
                      <a:pt x="2" y="92"/>
                    </a:lnTo>
                    <a:lnTo>
                      <a:pt x="4" y="76"/>
                    </a:lnTo>
                    <a:lnTo>
                      <a:pt x="8" y="68"/>
                    </a:lnTo>
                    <a:lnTo>
                      <a:pt x="0" y="44"/>
                    </a:lnTo>
                    <a:lnTo>
                      <a:pt x="0" y="36"/>
                    </a:lnTo>
                    <a:lnTo>
                      <a:pt x="134" y="36"/>
                    </a:lnTo>
                    <a:lnTo>
                      <a:pt x="134" y="14"/>
                    </a:lnTo>
                    <a:lnTo>
                      <a:pt x="136" y="0"/>
                    </a:lnTo>
                    <a:lnTo>
                      <a:pt x="146" y="0"/>
                    </a:lnTo>
                    <a:lnTo>
                      <a:pt x="160" y="6"/>
                    </a:lnTo>
                    <a:lnTo>
                      <a:pt x="162" y="28"/>
                    </a:lnTo>
                    <a:lnTo>
                      <a:pt x="166" y="42"/>
                    </a:lnTo>
                    <a:lnTo>
                      <a:pt x="164" y="56"/>
                    </a:lnTo>
                    <a:lnTo>
                      <a:pt x="180" y="66"/>
                    </a:lnTo>
                    <a:lnTo>
                      <a:pt x="184" y="64"/>
                    </a:lnTo>
                    <a:lnTo>
                      <a:pt x="194" y="66"/>
                    </a:lnTo>
                    <a:lnTo>
                      <a:pt x="200" y="72"/>
                    </a:lnTo>
                    <a:lnTo>
                      <a:pt x="212" y="72"/>
                    </a:lnTo>
                    <a:lnTo>
                      <a:pt x="224" y="72"/>
                    </a:lnTo>
                    <a:lnTo>
                      <a:pt x="226" y="78"/>
                    </a:lnTo>
                    <a:lnTo>
                      <a:pt x="226" y="82"/>
                    </a:lnTo>
                    <a:lnTo>
                      <a:pt x="246" y="80"/>
                    </a:lnTo>
                    <a:lnTo>
                      <a:pt x="252" y="74"/>
                    </a:lnTo>
                    <a:lnTo>
                      <a:pt x="282" y="72"/>
                    </a:lnTo>
                    <a:lnTo>
                      <a:pt x="300" y="78"/>
                    </a:lnTo>
                    <a:lnTo>
                      <a:pt x="304" y="78"/>
                    </a:lnTo>
                    <a:lnTo>
                      <a:pt x="302" y="82"/>
                    </a:lnTo>
                    <a:lnTo>
                      <a:pt x="308" y="86"/>
                    </a:lnTo>
                    <a:lnTo>
                      <a:pt x="310" y="86"/>
                    </a:lnTo>
                    <a:lnTo>
                      <a:pt x="314" y="90"/>
                    </a:lnTo>
                    <a:lnTo>
                      <a:pt x="318" y="102"/>
                    </a:lnTo>
                    <a:lnTo>
                      <a:pt x="324" y="106"/>
                    </a:lnTo>
                    <a:lnTo>
                      <a:pt x="332" y="96"/>
                    </a:lnTo>
                    <a:lnTo>
                      <a:pt x="336" y="94"/>
                    </a:lnTo>
                    <a:lnTo>
                      <a:pt x="344" y="96"/>
                    </a:lnTo>
                    <a:lnTo>
                      <a:pt x="348" y="106"/>
                    </a:lnTo>
                    <a:lnTo>
                      <a:pt x="364" y="110"/>
                    </a:lnTo>
                    <a:lnTo>
                      <a:pt x="368" y="116"/>
                    </a:lnTo>
                    <a:lnTo>
                      <a:pt x="376" y="122"/>
                    </a:lnTo>
                    <a:lnTo>
                      <a:pt x="386" y="122"/>
                    </a:lnTo>
                    <a:lnTo>
                      <a:pt x="396" y="120"/>
                    </a:lnTo>
                    <a:lnTo>
                      <a:pt x="422" y="102"/>
                    </a:lnTo>
                    <a:lnTo>
                      <a:pt x="426" y="104"/>
                    </a:lnTo>
                    <a:lnTo>
                      <a:pt x="432" y="112"/>
                    </a:lnTo>
                    <a:lnTo>
                      <a:pt x="470" y="112"/>
                    </a:lnTo>
                    <a:lnTo>
                      <a:pt x="476" y="114"/>
                    </a:lnTo>
                    <a:lnTo>
                      <a:pt x="482" y="116"/>
                    </a:lnTo>
                    <a:lnTo>
                      <a:pt x="492" y="124"/>
                    </a:lnTo>
                    <a:lnTo>
                      <a:pt x="500" y="120"/>
                    </a:lnTo>
                    <a:lnTo>
                      <a:pt x="518" y="118"/>
                    </a:lnTo>
                    <a:lnTo>
                      <a:pt x="508" y="128"/>
                    </a:lnTo>
                    <a:lnTo>
                      <a:pt x="484" y="140"/>
                    </a:lnTo>
                    <a:lnTo>
                      <a:pt x="472" y="144"/>
                    </a:lnTo>
                    <a:lnTo>
                      <a:pt x="464" y="148"/>
                    </a:lnTo>
                    <a:lnTo>
                      <a:pt x="454" y="158"/>
                    </a:lnTo>
                    <a:lnTo>
                      <a:pt x="434" y="166"/>
                    </a:lnTo>
                    <a:lnTo>
                      <a:pt x="424" y="174"/>
                    </a:lnTo>
                    <a:lnTo>
                      <a:pt x="392" y="210"/>
                    </a:lnTo>
                    <a:lnTo>
                      <a:pt x="344" y="252"/>
                    </a:lnTo>
                    <a:lnTo>
                      <a:pt x="340" y="260"/>
                    </a:lnTo>
                    <a:lnTo>
                      <a:pt x="334" y="264"/>
                    </a:lnTo>
                    <a:lnTo>
                      <a:pt x="336" y="318"/>
                    </a:lnTo>
                    <a:lnTo>
                      <a:pt x="332" y="324"/>
                    </a:lnTo>
                    <a:lnTo>
                      <a:pt x="324" y="326"/>
                    </a:lnTo>
                    <a:lnTo>
                      <a:pt x="304" y="342"/>
                    </a:lnTo>
                    <a:lnTo>
                      <a:pt x="304" y="352"/>
                    </a:lnTo>
                    <a:lnTo>
                      <a:pt x="302" y="354"/>
                    </a:lnTo>
                    <a:lnTo>
                      <a:pt x="296" y="370"/>
                    </a:lnTo>
                    <a:lnTo>
                      <a:pt x="306" y="374"/>
                    </a:lnTo>
                    <a:lnTo>
                      <a:pt x="314" y="388"/>
                    </a:lnTo>
                    <a:lnTo>
                      <a:pt x="308" y="398"/>
                    </a:lnTo>
                    <a:lnTo>
                      <a:pt x="310" y="408"/>
                    </a:lnTo>
                    <a:lnTo>
                      <a:pt x="306" y="426"/>
                    </a:lnTo>
                    <a:lnTo>
                      <a:pt x="306" y="450"/>
                    </a:lnTo>
                    <a:lnTo>
                      <a:pt x="310" y="456"/>
                    </a:lnTo>
                    <a:lnTo>
                      <a:pt x="318" y="462"/>
                    </a:lnTo>
                    <a:lnTo>
                      <a:pt x="320" y="466"/>
                    </a:lnTo>
                    <a:lnTo>
                      <a:pt x="338" y="470"/>
                    </a:lnTo>
                    <a:lnTo>
                      <a:pt x="342" y="472"/>
                    </a:lnTo>
                    <a:lnTo>
                      <a:pt x="342" y="476"/>
                    </a:lnTo>
                    <a:lnTo>
                      <a:pt x="348" y="480"/>
                    </a:lnTo>
                    <a:lnTo>
                      <a:pt x="368" y="490"/>
                    </a:lnTo>
                    <a:lnTo>
                      <a:pt x="376" y="504"/>
                    </a:lnTo>
                    <a:lnTo>
                      <a:pt x="396" y="520"/>
                    </a:lnTo>
                    <a:lnTo>
                      <a:pt x="418" y="534"/>
                    </a:lnTo>
                    <a:lnTo>
                      <a:pt x="420" y="540"/>
                    </a:lnTo>
                    <a:lnTo>
                      <a:pt x="420" y="552"/>
                    </a:lnTo>
                    <a:lnTo>
                      <a:pt x="422" y="572"/>
                    </a:lnTo>
                    <a:lnTo>
                      <a:pt x="50" y="58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Freeform 66">
                <a:extLst>
                  <a:ext uri="{FF2B5EF4-FFF2-40B4-BE49-F238E27FC236}">
                    <a16:creationId xmlns:a16="http://schemas.microsoft.com/office/drawing/2014/main" id="{1A8DB7FC-83D4-45A7-8BED-FF5304C390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0" y="878"/>
                <a:ext cx="635" cy="530"/>
              </a:xfrm>
              <a:custGeom>
                <a:avLst/>
                <a:gdLst>
                  <a:gd name="T0" fmla="*/ 6 w 634"/>
                  <a:gd name="T1" fmla="*/ 393 h 528"/>
                  <a:gd name="T2" fmla="*/ 4 w 634"/>
                  <a:gd name="T3" fmla="*/ 363 h 528"/>
                  <a:gd name="T4" fmla="*/ 10 w 634"/>
                  <a:gd name="T5" fmla="*/ 339 h 528"/>
                  <a:gd name="T6" fmla="*/ 12 w 634"/>
                  <a:gd name="T7" fmla="*/ 301 h 528"/>
                  <a:gd name="T8" fmla="*/ 22 w 634"/>
                  <a:gd name="T9" fmla="*/ 293 h 528"/>
                  <a:gd name="T10" fmla="*/ 30 w 634"/>
                  <a:gd name="T11" fmla="*/ 279 h 528"/>
                  <a:gd name="T12" fmla="*/ 34 w 634"/>
                  <a:gd name="T13" fmla="*/ 263 h 528"/>
                  <a:gd name="T14" fmla="*/ 62 w 634"/>
                  <a:gd name="T15" fmla="*/ 221 h 528"/>
                  <a:gd name="T16" fmla="*/ 98 w 634"/>
                  <a:gd name="T17" fmla="*/ 135 h 528"/>
                  <a:gd name="T18" fmla="*/ 122 w 634"/>
                  <a:gd name="T19" fmla="*/ 76 h 528"/>
                  <a:gd name="T20" fmla="*/ 142 w 634"/>
                  <a:gd name="T21" fmla="*/ 20 h 528"/>
                  <a:gd name="T22" fmla="*/ 144 w 634"/>
                  <a:gd name="T23" fmla="*/ 2 h 528"/>
                  <a:gd name="T24" fmla="*/ 158 w 634"/>
                  <a:gd name="T25" fmla="*/ 2 h 528"/>
                  <a:gd name="T26" fmla="*/ 176 w 634"/>
                  <a:gd name="T27" fmla="*/ 6 h 528"/>
                  <a:gd name="T28" fmla="*/ 182 w 634"/>
                  <a:gd name="T29" fmla="*/ 16 h 528"/>
                  <a:gd name="T30" fmla="*/ 208 w 634"/>
                  <a:gd name="T31" fmla="*/ 28 h 528"/>
                  <a:gd name="T32" fmla="*/ 210 w 634"/>
                  <a:gd name="T33" fmla="*/ 48 h 528"/>
                  <a:gd name="T34" fmla="*/ 212 w 634"/>
                  <a:gd name="T35" fmla="*/ 82 h 528"/>
                  <a:gd name="T36" fmla="*/ 256 w 634"/>
                  <a:gd name="T37" fmla="*/ 92 h 528"/>
                  <a:gd name="T38" fmla="*/ 286 w 634"/>
                  <a:gd name="T39" fmla="*/ 92 h 528"/>
                  <a:gd name="T40" fmla="*/ 319 w 634"/>
                  <a:gd name="T41" fmla="*/ 110 h 528"/>
                  <a:gd name="T42" fmla="*/ 361 w 634"/>
                  <a:gd name="T43" fmla="*/ 110 h 528"/>
                  <a:gd name="T44" fmla="*/ 381 w 634"/>
                  <a:gd name="T45" fmla="*/ 114 h 528"/>
                  <a:gd name="T46" fmla="*/ 399 w 634"/>
                  <a:gd name="T47" fmla="*/ 108 h 528"/>
                  <a:gd name="T48" fmla="*/ 419 w 634"/>
                  <a:gd name="T49" fmla="*/ 110 h 528"/>
                  <a:gd name="T50" fmla="*/ 433 w 634"/>
                  <a:gd name="T51" fmla="*/ 108 h 528"/>
                  <a:gd name="T52" fmla="*/ 447 w 634"/>
                  <a:gd name="T53" fmla="*/ 110 h 528"/>
                  <a:gd name="T54" fmla="*/ 461 w 634"/>
                  <a:gd name="T55" fmla="*/ 112 h 528"/>
                  <a:gd name="T56" fmla="*/ 611 w 634"/>
                  <a:gd name="T57" fmla="*/ 143 h 528"/>
                  <a:gd name="T58" fmla="*/ 619 w 634"/>
                  <a:gd name="T59" fmla="*/ 161 h 528"/>
                  <a:gd name="T60" fmla="*/ 633 w 634"/>
                  <a:gd name="T61" fmla="*/ 169 h 528"/>
                  <a:gd name="T62" fmla="*/ 601 w 634"/>
                  <a:gd name="T63" fmla="*/ 235 h 528"/>
                  <a:gd name="T64" fmla="*/ 593 w 634"/>
                  <a:gd name="T65" fmla="*/ 247 h 528"/>
                  <a:gd name="T66" fmla="*/ 575 w 634"/>
                  <a:gd name="T67" fmla="*/ 261 h 528"/>
                  <a:gd name="T68" fmla="*/ 555 w 634"/>
                  <a:gd name="T69" fmla="*/ 299 h 528"/>
                  <a:gd name="T70" fmla="*/ 569 w 634"/>
                  <a:gd name="T71" fmla="*/ 311 h 528"/>
                  <a:gd name="T72" fmla="*/ 571 w 634"/>
                  <a:gd name="T73" fmla="*/ 325 h 528"/>
                  <a:gd name="T74" fmla="*/ 567 w 634"/>
                  <a:gd name="T75" fmla="*/ 329 h 528"/>
                  <a:gd name="T76" fmla="*/ 557 w 634"/>
                  <a:gd name="T77" fmla="*/ 353 h 528"/>
                  <a:gd name="T78" fmla="*/ 304 w 634"/>
                  <a:gd name="T79" fmla="*/ 480 h 52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634" h="528">
                    <a:moveTo>
                      <a:pt x="8" y="398"/>
                    </a:moveTo>
                    <a:lnTo>
                      <a:pt x="6" y="392"/>
                    </a:lnTo>
                    <a:lnTo>
                      <a:pt x="0" y="372"/>
                    </a:lnTo>
                    <a:lnTo>
                      <a:pt x="4" y="362"/>
                    </a:lnTo>
                    <a:lnTo>
                      <a:pt x="4" y="354"/>
                    </a:lnTo>
                    <a:lnTo>
                      <a:pt x="10" y="338"/>
                    </a:lnTo>
                    <a:lnTo>
                      <a:pt x="8" y="306"/>
                    </a:lnTo>
                    <a:lnTo>
                      <a:pt x="12" y="300"/>
                    </a:lnTo>
                    <a:lnTo>
                      <a:pt x="18" y="296"/>
                    </a:lnTo>
                    <a:lnTo>
                      <a:pt x="22" y="292"/>
                    </a:lnTo>
                    <a:lnTo>
                      <a:pt x="26" y="282"/>
                    </a:lnTo>
                    <a:lnTo>
                      <a:pt x="30" y="278"/>
                    </a:lnTo>
                    <a:lnTo>
                      <a:pt x="32" y="264"/>
                    </a:lnTo>
                    <a:lnTo>
                      <a:pt x="34" y="262"/>
                    </a:lnTo>
                    <a:lnTo>
                      <a:pt x="54" y="240"/>
                    </a:lnTo>
                    <a:lnTo>
                      <a:pt x="62" y="220"/>
                    </a:lnTo>
                    <a:lnTo>
                      <a:pt x="78" y="188"/>
                    </a:lnTo>
                    <a:lnTo>
                      <a:pt x="98" y="134"/>
                    </a:lnTo>
                    <a:lnTo>
                      <a:pt x="110" y="110"/>
                    </a:lnTo>
                    <a:lnTo>
                      <a:pt x="122" y="76"/>
                    </a:lnTo>
                    <a:lnTo>
                      <a:pt x="136" y="34"/>
                    </a:lnTo>
                    <a:lnTo>
                      <a:pt x="142" y="20"/>
                    </a:lnTo>
                    <a:lnTo>
                      <a:pt x="144" y="6"/>
                    </a:lnTo>
                    <a:lnTo>
                      <a:pt x="144" y="2"/>
                    </a:lnTo>
                    <a:lnTo>
                      <a:pt x="150" y="0"/>
                    </a:lnTo>
                    <a:lnTo>
                      <a:pt x="158" y="2"/>
                    </a:lnTo>
                    <a:lnTo>
                      <a:pt x="162" y="0"/>
                    </a:lnTo>
                    <a:lnTo>
                      <a:pt x="176" y="6"/>
                    </a:lnTo>
                    <a:lnTo>
                      <a:pt x="182" y="12"/>
                    </a:lnTo>
                    <a:lnTo>
                      <a:pt x="182" y="16"/>
                    </a:lnTo>
                    <a:lnTo>
                      <a:pt x="194" y="16"/>
                    </a:lnTo>
                    <a:lnTo>
                      <a:pt x="208" y="28"/>
                    </a:lnTo>
                    <a:lnTo>
                      <a:pt x="212" y="42"/>
                    </a:lnTo>
                    <a:lnTo>
                      <a:pt x="210" y="48"/>
                    </a:lnTo>
                    <a:lnTo>
                      <a:pt x="208" y="72"/>
                    </a:lnTo>
                    <a:lnTo>
                      <a:pt x="212" y="82"/>
                    </a:lnTo>
                    <a:lnTo>
                      <a:pt x="232" y="90"/>
                    </a:lnTo>
                    <a:lnTo>
                      <a:pt x="256" y="92"/>
                    </a:lnTo>
                    <a:lnTo>
                      <a:pt x="272" y="90"/>
                    </a:lnTo>
                    <a:lnTo>
                      <a:pt x="286" y="92"/>
                    </a:lnTo>
                    <a:lnTo>
                      <a:pt x="312" y="100"/>
                    </a:lnTo>
                    <a:lnTo>
                      <a:pt x="318" y="110"/>
                    </a:lnTo>
                    <a:lnTo>
                      <a:pt x="348" y="104"/>
                    </a:lnTo>
                    <a:lnTo>
                      <a:pt x="360" y="110"/>
                    </a:lnTo>
                    <a:lnTo>
                      <a:pt x="364" y="112"/>
                    </a:lnTo>
                    <a:lnTo>
                      <a:pt x="380" y="114"/>
                    </a:lnTo>
                    <a:lnTo>
                      <a:pt x="388" y="112"/>
                    </a:lnTo>
                    <a:lnTo>
                      <a:pt x="398" y="108"/>
                    </a:lnTo>
                    <a:lnTo>
                      <a:pt x="408" y="108"/>
                    </a:lnTo>
                    <a:lnTo>
                      <a:pt x="418" y="110"/>
                    </a:lnTo>
                    <a:lnTo>
                      <a:pt x="426" y="108"/>
                    </a:lnTo>
                    <a:lnTo>
                      <a:pt x="432" y="108"/>
                    </a:lnTo>
                    <a:lnTo>
                      <a:pt x="438" y="110"/>
                    </a:lnTo>
                    <a:lnTo>
                      <a:pt x="446" y="110"/>
                    </a:lnTo>
                    <a:lnTo>
                      <a:pt x="454" y="112"/>
                    </a:lnTo>
                    <a:lnTo>
                      <a:pt x="460" y="112"/>
                    </a:lnTo>
                    <a:lnTo>
                      <a:pt x="472" y="110"/>
                    </a:lnTo>
                    <a:lnTo>
                      <a:pt x="610" y="142"/>
                    </a:lnTo>
                    <a:lnTo>
                      <a:pt x="612" y="150"/>
                    </a:lnTo>
                    <a:lnTo>
                      <a:pt x="618" y="160"/>
                    </a:lnTo>
                    <a:lnTo>
                      <a:pt x="624" y="162"/>
                    </a:lnTo>
                    <a:lnTo>
                      <a:pt x="632" y="168"/>
                    </a:lnTo>
                    <a:lnTo>
                      <a:pt x="634" y="182"/>
                    </a:lnTo>
                    <a:lnTo>
                      <a:pt x="600" y="234"/>
                    </a:lnTo>
                    <a:lnTo>
                      <a:pt x="594" y="240"/>
                    </a:lnTo>
                    <a:lnTo>
                      <a:pt x="592" y="246"/>
                    </a:lnTo>
                    <a:lnTo>
                      <a:pt x="586" y="254"/>
                    </a:lnTo>
                    <a:lnTo>
                      <a:pt x="574" y="260"/>
                    </a:lnTo>
                    <a:lnTo>
                      <a:pt x="558" y="286"/>
                    </a:lnTo>
                    <a:lnTo>
                      <a:pt x="554" y="298"/>
                    </a:lnTo>
                    <a:lnTo>
                      <a:pt x="556" y="306"/>
                    </a:lnTo>
                    <a:lnTo>
                      <a:pt x="568" y="310"/>
                    </a:lnTo>
                    <a:lnTo>
                      <a:pt x="572" y="318"/>
                    </a:lnTo>
                    <a:lnTo>
                      <a:pt x="570" y="324"/>
                    </a:lnTo>
                    <a:lnTo>
                      <a:pt x="568" y="326"/>
                    </a:lnTo>
                    <a:lnTo>
                      <a:pt x="566" y="328"/>
                    </a:lnTo>
                    <a:lnTo>
                      <a:pt x="566" y="340"/>
                    </a:lnTo>
                    <a:lnTo>
                      <a:pt x="556" y="352"/>
                    </a:lnTo>
                    <a:lnTo>
                      <a:pt x="516" y="528"/>
                    </a:lnTo>
                    <a:lnTo>
                      <a:pt x="304" y="478"/>
                    </a:lnTo>
                    <a:lnTo>
                      <a:pt x="8" y="39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Freeform 67">
                <a:extLst>
                  <a:ext uri="{FF2B5EF4-FFF2-40B4-BE49-F238E27FC236}">
                    <a16:creationId xmlns:a16="http://schemas.microsoft.com/office/drawing/2014/main" id="{8AE94322-20AA-4432-950E-2F5840E1DD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0" y="1551"/>
                <a:ext cx="242" cy="421"/>
              </a:xfrm>
              <a:custGeom>
                <a:avLst/>
                <a:gdLst>
                  <a:gd name="T0" fmla="*/ 8 w 240"/>
                  <a:gd name="T1" fmla="*/ 24 h 420"/>
                  <a:gd name="T2" fmla="*/ 28 w 240"/>
                  <a:gd name="T3" fmla="*/ 261 h 420"/>
                  <a:gd name="T4" fmla="*/ 24 w 240"/>
                  <a:gd name="T5" fmla="*/ 265 h 420"/>
                  <a:gd name="T6" fmla="*/ 26 w 240"/>
                  <a:gd name="T7" fmla="*/ 275 h 420"/>
                  <a:gd name="T8" fmla="*/ 24 w 240"/>
                  <a:gd name="T9" fmla="*/ 287 h 420"/>
                  <a:gd name="T10" fmla="*/ 32 w 240"/>
                  <a:gd name="T11" fmla="*/ 305 h 420"/>
                  <a:gd name="T12" fmla="*/ 36 w 240"/>
                  <a:gd name="T13" fmla="*/ 325 h 420"/>
                  <a:gd name="T14" fmla="*/ 24 w 240"/>
                  <a:gd name="T15" fmla="*/ 345 h 420"/>
                  <a:gd name="T16" fmla="*/ 24 w 240"/>
                  <a:gd name="T17" fmla="*/ 351 h 420"/>
                  <a:gd name="T18" fmla="*/ 16 w 240"/>
                  <a:gd name="T19" fmla="*/ 367 h 420"/>
                  <a:gd name="T20" fmla="*/ 6 w 240"/>
                  <a:gd name="T21" fmla="*/ 379 h 420"/>
                  <a:gd name="T22" fmla="*/ 6 w 240"/>
                  <a:gd name="T23" fmla="*/ 393 h 420"/>
                  <a:gd name="T24" fmla="*/ 0 w 240"/>
                  <a:gd name="T25" fmla="*/ 411 h 420"/>
                  <a:gd name="T26" fmla="*/ 0 w 240"/>
                  <a:gd name="T27" fmla="*/ 415 h 420"/>
                  <a:gd name="T28" fmla="*/ 2 w 240"/>
                  <a:gd name="T29" fmla="*/ 419 h 420"/>
                  <a:gd name="T30" fmla="*/ 2 w 240"/>
                  <a:gd name="T31" fmla="*/ 419 h 420"/>
                  <a:gd name="T32" fmla="*/ 8 w 240"/>
                  <a:gd name="T33" fmla="*/ 421 h 420"/>
                  <a:gd name="T34" fmla="*/ 14 w 240"/>
                  <a:gd name="T35" fmla="*/ 419 h 420"/>
                  <a:gd name="T36" fmla="*/ 12 w 240"/>
                  <a:gd name="T37" fmla="*/ 415 h 420"/>
                  <a:gd name="T38" fmla="*/ 16 w 240"/>
                  <a:gd name="T39" fmla="*/ 407 h 420"/>
                  <a:gd name="T40" fmla="*/ 30 w 240"/>
                  <a:gd name="T41" fmla="*/ 409 h 420"/>
                  <a:gd name="T42" fmla="*/ 48 w 240"/>
                  <a:gd name="T43" fmla="*/ 401 h 420"/>
                  <a:gd name="T44" fmla="*/ 73 w 240"/>
                  <a:gd name="T45" fmla="*/ 413 h 420"/>
                  <a:gd name="T46" fmla="*/ 75 w 240"/>
                  <a:gd name="T47" fmla="*/ 415 h 420"/>
                  <a:gd name="T48" fmla="*/ 79 w 240"/>
                  <a:gd name="T49" fmla="*/ 413 h 420"/>
                  <a:gd name="T50" fmla="*/ 85 w 240"/>
                  <a:gd name="T51" fmla="*/ 399 h 420"/>
                  <a:gd name="T52" fmla="*/ 97 w 240"/>
                  <a:gd name="T53" fmla="*/ 393 h 420"/>
                  <a:gd name="T54" fmla="*/ 103 w 240"/>
                  <a:gd name="T55" fmla="*/ 401 h 420"/>
                  <a:gd name="T56" fmla="*/ 111 w 240"/>
                  <a:gd name="T57" fmla="*/ 405 h 420"/>
                  <a:gd name="T58" fmla="*/ 117 w 240"/>
                  <a:gd name="T59" fmla="*/ 401 h 420"/>
                  <a:gd name="T60" fmla="*/ 123 w 240"/>
                  <a:gd name="T61" fmla="*/ 381 h 420"/>
                  <a:gd name="T62" fmla="*/ 129 w 240"/>
                  <a:gd name="T63" fmla="*/ 373 h 420"/>
                  <a:gd name="T64" fmla="*/ 133 w 240"/>
                  <a:gd name="T65" fmla="*/ 375 h 420"/>
                  <a:gd name="T66" fmla="*/ 143 w 240"/>
                  <a:gd name="T67" fmla="*/ 385 h 420"/>
                  <a:gd name="T68" fmla="*/ 163 w 240"/>
                  <a:gd name="T69" fmla="*/ 383 h 420"/>
                  <a:gd name="T70" fmla="*/ 167 w 240"/>
                  <a:gd name="T71" fmla="*/ 367 h 420"/>
                  <a:gd name="T72" fmla="*/ 200 w 240"/>
                  <a:gd name="T73" fmla="*/ 325 h 420"/>
                  <a:gd name="T74" fmla="*/ 200 w 240"/>
                  <a:gd name="T75" fmla="*/ 311 h 420"/>
                  <a:gd name="T76" fmla="*/ 206 w 240"/>
                  <a:gd name="T77" fmla="*/ 307 h 420"/>
                  <a:gd name="T78" fmla="*/ 218 w 240"/>
                  <a:gd name="T79" fmla="*/ 309 h 420"/>
                  <a:gd name="T80" fmla="*/ 228 w 240"/>
                  <a:gd name="T81" fmla="*/ 301 h 420"/>
                  <a:gd name="T82" fmla="*/ 238 w 240"/>
                  <a:gd name="T83" fmla="*/ 299 h 420"/>
                  <a:gd name="T84" fmla="*/ 242 w 240"/>
                  <a:gd name="T85" fmla="*/ 293 h 420"/>
                  <a:gd name="T86" fmla="*/ 236 w 240"/>
                  <a:gd name="T87" fmla="*/ 275 h 420"/>
                  <a:gd name="T88" fmla="*/ 236 w 240"/>
                  <a:gd name="T89" fmla="*/ 271 h 420"/>
                  <a:gd name="T90" fmla="*/ 238 w 240"/>
                  <a:gd name="T91" fmla="*/ 263 h 420"/>
                  <a:gd name="T92" fmla="*/ 210 w 240"/>
                  <a:gd name="T93" fmla="*/ 4 h 420"/>
                  <a:gd name="T94" fmla="*/ 210 w 240"/>
                  <a:gd name="T95" fmla="*/ 0 h 420"/>
                  <a:gd name="T96" fmla="*/ 54 w 240"/>
                  <a:gd name="T97" fmla="*/ 18 h 420"/>
                  <a:gd name="T98" fmla="*/ 50 w 240"/>
                  <a:gd name="T99" fmla="*/ 22 h 420"/>
                  <a:gd name="T100" fmla="*/ 40 w 240"/>
                  <a:gd name="T101" fmla="*/ 26 h 420"/>
                  <a:gd name="T102" fmla="*/ 32 w 240"/>
                  <a:gd name="T103" fmla="*/ 30 h 420"/>
                  <a:gd name="T104" fmla="*/ 18 w 240"/>
                  <a:gd name="T105" fmla="*/ 32 h 420"/>
                  <a:gd name="T106" fmla="*/ 8 w 240"/>
                  <a:gd name="T107" fmla="*/ 24 h 42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40" h="420">
                    <a:moveTo>
                      <a:pt x="8" y="24"/>
                    </a:moveTo>
                    <a:lnTo>
                      <a:pt x="28" y="260"/>
                    </a:lnTo>
                    <a:lnTo>
                      <a:pt x="24" y="264"/>
                    </a:lnTo>
                    <a:lnTo>
                      <a:pt x="26" y="274"/>
                    </a:lnTo>
                    <a:lnTo>
                      <a:pt x="24" y="286"/>
                    </a:lnTo>
                    <a:lnTo>
                      <a:pt x="32" y="304"/>
                    </a:lnTo>
                    <a:lnTo>
                      <a:pt x="36" y="324"/>
                    </a:lnTo>
                    <a:lnTo>
                      <a:pt x="24" y="344"/>
                    </a:lnTo>
                    <a:lnTo>
                      <a:pt x="24" y="350"/>
                    </a:lnTo>
                    <a:lnTo>
                      <a:pt x="16" y="366"/>
                    </a:lnTo>
                    <a:lnTo>
                      <a:pt x="6" y="378"/>
                    </a:lnTo>
                    <a:lnTo>
                      <a:pt x="6" y="392"/>
                    </a:lnTo>
                    <a:lnTo>
                      <a:pt x="0" y="410"/>
                    </a:lnTo>
                    <a:lnTo>
                      <a:pt x="0" y="414"/>
                    </a:lnTo>
                    <a:lnTo>
                      <a:pt x="2" y="418"/>
                    </a:lnTo>
                    <a:lnTo>
                      <a:pt x="8" y="420"/>
                    </a:lnTo>
                    <a:lnTo>
                      <a:pt x="14" y="418"/>
                    </a:lnTo>
                    <a:lnTo>
                      <a:pt x="12" y="414"/>
                    </a:lnTo>
                    <a:lnTo>
                      <a:pt x="16" y="406"/>
                    </a:lnTo>
                    <a:lnTo>
                      <a:pt x="30" y="408"/>
                    </a:lnTo>
                    <a:lnTo>
                      <a:pt x="48" y="400"/>
                    </a:lnTo>
                    <a:lnTo>
                      <a:pt x="72" y="412"/>
                    </a:lnTo>
                    <a:lnTo>
                      <a:pt x="74" y="414"/>
                    </a:lnTo>
                    <a:lnTo>
                      <a:pt x="78" y="412"/>
                    </a:lnTo>
                    <a:lnTo>
                      <a:pt x="84" y="398"/>
                    </a:lnTo>
                    <a:lnTo>
                      <a:pt x="96" y="392"/>
                    </a:lnTo>
                    <a:lnTo>
                      <a:pt x="102" y="400"/>
                    </a:lnTo>
                    <a:lnTo>
                      <a:pt x="110" y="404"/>
                    </a:lnTo>
                    <a:lnTo>
                      <a:pt x="116" y="400"/>
                    </a:lnTo>
                    <a:lnTo>
                      <a:pt x="122" y="380"/>
                    </a:lnTo>
                    <a:lnTo>
                      <a:pt x="128" y="372"/>
                    </a:lnTo>
                    <a:lnTo>
                      <a:pt x="132" y="374"/>
                    </a:lnTo>
                    <a:lnTo>
                      <a:pt x="142" y="384"/>
                    </a:lnTo>
                    <a:lnTo>
                      <a:pt x="162" y="382"/>
                    </a:lnTo>
                    <a:lnTo>
                      <a:pt x="166" y="366"/>
                    </a:lnTo>
                    <a:lnTo>
                      <a:pt x="198" y="324"/>
                    </a:lnTo>
                    <a:lnTo>
                      <a:pt x="198" y="310"/>
                    </a:lnTo>
                    <a:lnTo>
                      <a:pt x="204" y="306"/>
                    </a:lnTo>
                    <a:lnTo>
                      <a:pt x="216" y="308"/>
                    </a:lnTo>
                    <a:lnTo>
                      <a:pt x="226" y="300"/>
                    </a:lnTo>
                    <a:lnTo>
                      <a:pt x="236" y="298"/>
                    </a:lnTo>
                    <a:lnTo>
                      <a:pt x="240" y="292"/>
                    </a:lnTo>
                    <a:lnTo>
                      <a:pt x="234" y="274"/>
                    </a:lnTo>
                    <a:lnTo>
                      <a:pt x="234" y="270"/>
                    </a:lnTo>
                    <a:lnTo>
                      <a:pt x="236" y="262"/>
                    </a:lnTo>
                    <a:lnTo>
                      <a:pt x="208" y="4"/>
                    </a:lnTo>
                    <a:lnTo>
                      <a:pt x="208" y="0"/>
                    </a:lnTo>
                    <a:lnTo>
                      <a:pt x="54" y="18"/>
                    </a:lnTo>
                    <a:lnTo>
                      <a:pt x="50" y="22"/>
                    </a:lnTo>
                    <a:lnTo>
                      <a:pt x="40" y="26"/>
                    </a:lnTo>
                    <a:lnTo>
                      <a:pt x="32" y="30"/>
                    </a:lnTo>
                    <a:lnTo>
                      <a:pt x="18" y="32"/>
                    </a:lnTo>
                    <a:lnTo>
                      <a:pt x="8" y="2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62" name="Group 277">
                <a:extLst>
                  <a:ext uri="{FF2B5EF4-FFF2-40B4-BE49-F238E27FC236}">
                    <a16:creationId xmlns:a16="http://schemas.microsoft.com/office/drawing/2014/main" id="{62C3AC67-C0B0-4B20-A574-7E2AED176EDB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4084" y="1708"/>
                <a:ext cx="621" cy="343"/>
                <a:chOff x="4084" y="1708"/>
                <a:chExt cx="621" cy="343"/>
              </a:xfrm>
              <a:grpFill/>
            </p:grpSpPr>
            <p:sp>
              <p:nvSpPr>
                <p:cNvPr id="63" name="Freeform 24">
                  <a:extLst>
                    <a:ext uri="{FF2B5EF4-FFF2-40B4-BE49-F238E27FC236}">
                      <a16:creationId xmlns:a16="http://schemas.microsoft.com/office/drawing/2014/main" id="{D6962B8D-D8DA-46E7-B276-37D0ACF0A01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84" y="1708"/>
                  <a:ext cx="604" cy="343"/>
                </a:xfrm>
                <a:custGeom>
                  <a:avLst/>
                  <a:gdLst>
                    <a:gd name="T0" fmla="*/ 187 w 600"/>
                    <a:gd name="T1" fmla="*/ 321 h 344"/>
                    <a:gd name="T2" fmla="*/ 153 w 600"/>
                    <a:gd name="T3" fmla="*/ 325 h 344"/>
                    <a:gd name="T4" fmla="*/ 133 w 600"/>
                    <a:gd name="T5" fmla="*/ 327 h 344"/>
                    <a:gd name="T6" fmla="*/ 34 w 600"/>
                    <a:gd name="T7" fmla="*/ 325 h 344"/>
                    <a:gd name="T8" fmla="*/ 54 w 600"/>
                    <a:gd name="T9" fmla="*/ 299 h 344"/>
                    <a:gd name="T10" fmla="*/ 64 w 600"/>
                    <a:gd name="T11" fmla="*/ 283 h 344"/>
                    <a:gd name="T12" fmla="*/ 117 w 600"/>
                    <a:gd name="T13" fmla="*/ 233 h 344"/>
                    <a:gd name="T14" fmla="*/ 127 w 600"/>
                    <a:gd name="T15" fmla="*/ 255 h 344"/>
                    <a:gd name="T16" fmla="*/ 163 w 600"/>
                    <a:gd name="T17" fmla="*/ 255 h 344"/>
                    <a:gd name="T18" fmla="*/ 177 w 600"/>
                    <a:gd name="T19" fmla="*/ 251 h 344"/>
                    <a:gd name="T20" fmla="*/ 205 w 600"/>
                    <a:gd name="T21" fmla="*/ 243 h 344"/>
                    <a:gd name="T22" fmla="*/ 215 w 600"/>
                    <a:gd name="T23" fmla="*/ 235 h 344"/>
                    <a:gd name="T24" fmla="*/ 250 w 600"/>
                    <a:gd name="T25" fmla="*/ 207 h 344"/>
                    <a:gd name="T26" fmla="*/ 262 w 600"/>
                    <a:gd name="T27" fmla="*/ 166 h 344"/>
                    <a:gd name="T28" fmla="*/ 292 w 600"/>
                    <a:gd name="T29" fmla="*/ 106 h 344"/>
                    <a:gd name="T30" fmla="*/ 308 w 600"/>
                    <a:gd name="T31" fmla="*/ 112 h 344"/>
                    <a:gd name="T32" fmla="*/ 326 w 600"/>
                    <a:gd name="T33" fmla="*/ 68 h 344"/>
                    <a:gd name="T34" fmla="*/ 348 w 600"/>
                    <a:gd name="T35" fmla="*/ 54 h 344"/>
                    <a:gd name="T36" fmla="*/ 362 w 600"/>
                    <a:gd name="T37" fmla="*/ 32 h 344"/>
                    <a:gd name="T38" fmla="*/ 360 w 600"/>
                    <a:gd name="T39" fmla="*/ 6 h 344"/>
                    <a:gd name="T40" fmla="*/ 403 w 600"/>
                    <a:gd name="T41" fmla="*/ 22 h 344"/>
                    <a:gd name="T42" fmla="*/ 413 w 600"/>
                    <a:gd name="T43" fmla="*/ 4 h 344"/>
                    <a:gd name="T44" fmla="*/ 433 w 600"/>
                    <a:gd name="T45" fmla="*/ 8 h 344"/>
                    <a:gd name="T46" fmla="*/ 453 w 600"/>
                    <a:gd name="T47" fmla="*/ 26 h 344"/>
                    <a:gd name="T48" fmla="*/ 475 w 600"/>
                    <a:gd name="T49" fmla="*/ 44 h 344"/>
                    <a:gd name="T50" fmla="*/ 459 w 600"/>
                    <a:gd name="T51" fmla="*/ 82 h 344"/>
                    <a:gd name="T52" fmla="*/ 481 w 600"/>
                    <a:gd name="T53" fmla="*/ 86 h 344"/>
                    <a:gd name="T54" fmla="*/ 499 w 600"/>
                    <a:gd name="T55" fmla="*/ 100 h 344"/>
                    <a:gd name="T56" fmla="*/ 513 w 600"/>
                    <a:gd name="T57" fmla="*/ 104 h 344"/>
                    <a:gd name="T58" fmla="*/ 548 w 600"/>
                    <a:gd name="T59" fmla="*/ 116 h 344"/>
                    <a:gd name="T60" fmla="*/ 548 w 600"/>
                    <a:gd name="T61" fmla="*/ 132 h 344"/>
                    <a:gd name="T62" fmla="*/ 544 w 600"/>
                    <a:gd name="T63" fmla="*/ 150 h 344"/>
                    <a:gd name="T64" fmla="*/ 562 w 600"/>
                    <a:gd name="T65" fmla="*/ 166 h 344"/>
                    <a:gd name="T66" fmla="*/ 550 w 600"/>
                    <a:gd name="T67" fmla="*/ 172 h 344"/>
                    <a:gd name="T68" fmla="*/ 554 w 600"/>
                    <a:gd name="T69" fmla="*/ 179 h 344"/>
                    <a:gd name="T70" fmla="*/ 544 w 600"/>
                    <a:gd name="T71" fmla="*/ 185 h 344"/>
                    <a:gd name="T72" fmla="*/ 556 w 600"/>
                    <a:gd name="T73" fmla="*/ 193 h 344"/>
                    <a:gd name="T74" fmla="*/ 558 w 600"/>
                    <a:gd name="T75" fmla="*/ 209 h 344"/>
                    <a:gd name="T76" fmla="*/ 542 w 600"/>
                    <a:gd name="T77" fmla="*/ 209 h 344"/>
                    <a:gd name="T78" fmla="*/ 566 w 600"/>
                    <a:gd name="T79" fmla="*/ 217 h 344"/>
                    <a:gd name="T80" fmla="*/ 594 w 600"/>
                    <a:gd name="T81" fmla="*/ 209 h 344"/>
                    <a:gd name="T82" fmla="*/ 598 w 600"/>
                    <a:gd name="T83" fmla="*/ 245 h 344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0" t="0" r="r" b="b"/>
                  <a:pathLst>
                    <a:path w="600" h="344">
                      <a:moveTo>
                        <a:pt x="592" y="250"/>
                      </a:moveTo>
                      <a:lnTo>
                        <a:pt x="394" y="288"/>
                      </a:lnTo>
                      <a:lnTo>
                        <a:pt x="186" y="322"/>
                      </a:lnTo>
                      <a:lnTo>
                        <a:pt x="182" y="322"/>
                      </a:lnTo>
                      <a:lnTo>
                        <a:pt x="174" y="324"/>
                      </a:lnTo>
                      <a:lnTo>
                        <a:pt x="152" y="326"/>
                      </a:lnTo>
                      <a:lnTo>
                        <a:pt x="154" y="322"/>
                      </a:lnTo>
                      <a:lnTo>
                        <a:pt x="132" y="326"/>
                      </a:lnTo>
                      <a:lnTo>
                        <a:pt x="132" y="328"/>
                      </a:lnTo>
                      <a:lnTo>
                        <a:pt x="0" y="344"/>
                      </a:lnTo>
                      <a:lnTo>
                        <a:pt x="6" y="340"/>
                      </a:lnTo>
                      <a:lnTo>
                        <a:pt x="34" y="326"/>
                      </a:lnTo>
                      <a:lnTo>
                        <a:pt x="38" y="318"/>
                      </a:lnTo>
                      <a:lnTo>
                        <a:pt x="54" y="308"/>
                      </a:lnTo>
                      <a:lnTo>
                        <a:pt x="54" y="300"/>
                      </a:lnTo>
                      <a:lnTo>
                        <a:pt x="56" y="296"/>
                      </a:lnTo>
                      <a:lnTo>
                        <a:pt x="64" y="292"/>
                      </a:lnTo>
                      <a:lnTo>
                        <a:pt x="64" y="284"/>
                      </a:lnTo>
                      <a:lnTo>
                        <a:pt x="72" y="276"/>
                      </a:lnTo>
                      <a:lnTo>
                        <a:pt x="112" y="242"/>
                      </a:lnTo>
                      <a:lnTo>
                        <a:pt x="116" y="234"/>
                      </a:lnTo>
                      <a:lnTo>
                        <a:pt x="118" y="236"/>
                      </a:lnTo>
                      <a:lnTo>
                        <a:pt x="116" y="244"/>
                      </a:lnTo>
                      <a:lnTo>
                        <a:pt x="126" y="256"/>
                      </a:lnTo>
                      <a:lnTo>
                        <a:pt x="144" y="262"/>
                      </a:lnTo>
                      <a:lnTo>
                        <a:pt x="152" y="262"/>
                      </a:lnTo>
                      <a:lnTo>
                        <a:pt x="162" y="256"/>
                      </a:lnTo>
                      <a:lnTo>
                        <a:pt x="162" y="250"/>
                      </a:lnTo>
                      <a:lnTo>
                        <a:pt x="168" y="246"/>
                      </a:lnTo>
                      <a:lnTo>
                        <a:pt x="176" y="252"/>
                      </a:lnTo>
                      <a:lnTo>
                        <a:pt x="178" y="254"/>
                      </a:lnTo>
                      <a:lnTo>
                        <a:pt x="184" y="252"/>
                      </a:lnTo>
                      <a:lnTo>
                        <a:pt x="204" y="244"/>
                      </a:lnTo>
                      <a:lnTo>
                        <a:pt x="208" y="232"/>
                      </a:lnTo>
                      <a:lnTo>
                        <a:pt x="210" y="232"/>
                      </a:lnTo>
                      <a:lnTo>
                        <a:pt x="214" y="236"/>
                      </a:lnTo>
                      <a:lnTo>
                        <a:pt x="230" y="222"/>
                      </a:lnTo>
                      <a:lnTo>
                        <a:pt x="236" y="226"/>
                      </a:lnTo>
                      <a:lnTo>
                        <a:pt x="248" y="208"/>
                      </a:lnTo>
                      <a:lnTo>
                        <a:pt x="244" y="202"/>
                      </a:lnTo>
                      <a:lnTo>
                        <a:pt x="246" y="190"/>
                      </a:lnTo>
                      <a:lnTo>
                        <a:pt x="260" y="166"/>
                      </a:lnTo>
                      <a:lnTo>
                        <a:pt x="276" y="100"/>
                      </a:lnTo>
                      <a:lnTo>
                        <a:pt x="280" y="100"/>
                      </a:lnTo>
                      <a:lnTo>
                        <a:pt x="290" y="106"/>
                      </a:lnTo>
                      <a:lnTo>
                        <a:pt x="290" y="110"/>
                      </a:lnTo>
                      <a:lnTo>
                        <a:pt x="296" y="114"/>
                      </a:lnTo>
                      <a:lnTo>
                        <a:pt x="306" y="112"/>
                      </a:lnTo>
                      <a:lnTo>
                        <a:pt x="312" y="102"/>
                      </a:lnTo>
                      <a:lnTo>
                        <a:pt x="318" y="76"/>
                      </a:lnTo>
                      <a:lnTo>
                        <a:pt x="324" y="68"/>
                      </a:lnTo>
                      <a:lnTo>
                        <a:pt x="334" y="72"/>
                      </a:lnTo>
                      <a:lnTo>
                        <a:pt x="340" y="58"/>
                      </a:lnTo>
                      <a:lnTo>
                        <a:pt x="346" y="54"/>
                      </a:lnTo>
                      <a:lnTo>
                        <a:pt x="350" y="48"/>
                      </a:lnTo>
                      <a:lnTo>
                        <a:pt x="356" y="34"/>
                      </a:lnTo>
                      <a:lnTo>
                        <a:pt x="360" y="32"/>
                      </a:lnTo>
                      <a:lnTo>
                        <a:pt x="360" y="28"/>
                      </a:lnTo>
                      <a:lnTo>
                        <a:pt x="358" y="26"/>
                      </a:lnTo>
                      <a:lnTo>
                        <a:pt x="358" y="6"/>
                      </a:lnTo>
                      <a:lnTo>
                        <a:pt x="360" y="2"/>
                      </a:lnTo>
                      <a:lnTo>
                        <a:pt x="364" y="0"/>
                      </a:lnTo>
                      <a:lnTo>
                        <a:pt x="400" y="22"/>
                      </a:lnTo>
                      <a:lnTo>
                        <a:pt x="404" y="24"/>
                      </a:lnTo>
                      <a:lnTo>
                        <a:pt x="406" y="22"/>
                      </a:lnTo>
                      <a:lnTo>
                        <a:pt x="410" y="4"/>
                      </a:lnTo>
                      <a:lnTo>
                        <a:pt x="416" y="2"/>
                      </a:lnTo>
                      <a:lnTo>
                        <a:pt x="422" y="6"/>
                      </a:lnTo>
                      <a:lnTo>
                        <a:pt x="430" y="8"/>
                      </a:lnTo>
                      <a:lnTo>
                        <a:pt x="426" y="16"/>
                      </a:lnTo>
                      <a:lnTo>
                        <a:pt x="434" y="26"/>
                      </a:lnTo>
                      <a:lnTo>
                        <a:pt x="450" y="26"/>
                      </a:lnTo>
                      <a:lnTo>
                        <a:pt x="456" y="32"/>
                      </a:lnTo>
                      <a:lnTo>
                        <a:pt x="466" y="36"/>
                      </a:lnTo>
                      <a:lnTo>
                        <a:pt x="472" y="44"/>
                      </a:lnTo>
                      <a:lnTo>
                        <a:pt x="470" y="48"/>
                      </a:lnTo>
                      <a:lnTo>
                        <a:pt x="460" y="66"/>
                      </a:lnTo>
                      <a:lnTo>
                        <a:pt x="456" y="82"/>
                      </a:lnTo>
                      <a:lnTo>
                        <a:pt x="456" y="92"/>
                      </a:lnTo>
                      <a:lnTo>
                        <a:pt x="468" y="94"/>
                      </a:lnTo>
                      <a:lnTo>
                        <a:pt x="478" y="86"/>
                      </a:lnTo>
                      <a:lnTo>
                        <a:pt x="486" y="96"/>
                      </a:lnTo>
                      <a:lnTo>
                        <a:pt x="492" y="98"/>
                      </a:lnTo>
                      <a:lnTo>
                        <a:pt x="496" y="100"/>
                      </a:lnTo>
                      <a:lnTo>
                        <a:pt x="500" y="104"/>
                      </a:lnTo>
                      <a:lnTo>
                        <a:pt x="504" y="106"/>
                      </a:lnTo>
                      <a:lnTo>
                        <a:pt x="510" y="104"/>
                      </a:lnTo>
                      <a:lnTo>
                        <a:pt x="512" y="104"/>
                      </a:lnTo>
                      <a:lnTo>
                        <a:pt x="530" y="114"/>
                      </a:lnTo>
                      <a:lnTo>
                        <a:pt x="544" y="116"/>
                      </a:lnTo>
                      <a:lnTo>
                        <a:pt x="550" y="124"/>
                      </a:lnTo>
                      <a:lnTo>
                        <a:pt x="548" y="128"/>
                      </a:lnTo>
                      <a:lnTo>
                        <a:pt x="544" y="132"/>
                      </a:lnTo>
                      <a:lnTo>
                        <a:pt x="546" y="144"/>
                      </a:lnTo>
                      <a:lnTo>
                        <a:pt x="544" y="148"/>
                      </a:lnTo>
                      <a:lnTo>
                        <a:pt x="540" y="150"/>
                      </a:lnTo>
                      <a:lnTo>
                        <a:pt x="554" y="158"/>
                      </a:lnTo>
                      <a:lnTo>
                        <a:pt x="558" y="166"/>
                      </a:lnTo>
                      <a:lnTo>
                        <a:pt x="558" y="170"/>
                      </a:lnTo>
                      <a:lnTo>
                        <a:pt x="556" y="174"/>
                      </a:lnTo>
                      <a:lnTo>
                        <a:pt x="546" y="172"/>
                      </a:lnTo>
                      <a:lnTo>
                        <a:pt x="544" y="176"/>
                      </a:lnTo>
                      <a:lnTo>
                        <a:pt x="548" y="180"/>
                      </a:lnTo>
                      <a:lnTo>
                        <a:pt x="550" y="180"/>
                      </a:lnTo>
                      <a:lnTo>
                        <a:pt x="550" y="184"/>
                      </a:lnTo>
                      <a:lnTo>
                        <a:pt x="544" y="186"/>
                      </a:lnTo>
                      <a:lnTo>
                        <a:pt x="540" y="186"/>
                      </a:lnTo>
                      <a:lnTo>
                        <a:pt x="540" y="188"/>
                      </a:lnTo>
                      <a:lnTo>
                        <a:pt x="544" y="192"/>
                      </a:lnTo>
                      <a:lnTo>
                        <a:pt x="552" y="194"/>
                      </a:lnTo>
                      <a:lnTo>
                        <a:pt x="562" y="196"/>
                      </a:lnTo>
                      <a:lnTo>
                        <a:pt x="564" y="200"/>
                      </a:lnTo>
                      <a:lnTo>
                        <a:pt x="554" y="210"/>
                      </a:lnTo>
                      <a:lnTo>
                        <a:pt x="550" y="210"/>
                      </a:lnTo>
                      <a:lnTo>
                        <a:pt x="538" y="206"/>
                      </a:lnTo>
                      <a:lnTo>
                        <a:pt x="538" y="210"/>
                      </a:lnTo>
                      <a:lnTo>
                        <a:pt x="546" y="216"/>
                      </a:lnTo>
                      <a:lnTo>
                        <a:pt x="554" y="220"/>
                      </a:lnTo>
                      <a:lnTo>
                        <a:pt x="562" y="218"/>
                      </a:lnTo>
                      <a:lnTo>
                        <a:pt x="570" y="210"/>
                      </a:lnTo>
                      <a:lnTo>
                        <a:pt x="578" y="212"/>
                      </a:lnTo>
                      <a:lnTo>
                        <a:pt x="590" y="210"/>
                      </a:lnTo>
                      <a:lnTo>
                        <a:pt x="592" y="212"/>
                      </a:lnTo>
                      <a:lnTo>
                        <a:pt x="600" y="240"/>
                      </a:lnTo>
                      <a:lnTo>
                        <a:pt x="594" y="246"/>
                      </a:lnTo>
                      <a:lnTo>
                        <a:pt x="592" y="246"/>
                      </a:lnTo>
                      <a:lnTo>
                        <a:pt x="592" y="25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1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4" name="Freeform 276">
                  <a:extLst>
                    <a:ext uri="{FF2B5EF4-FFF2-40B4-BE49-F238E27FC236}">
                      <a16:creationId xmlns:a16="http://schemas.microsoft.com/office/drawing/2014/main" id="{AF7E60D8-0BAD-4282-B427-E1425EB1F5F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65" y="1801"/>
                  <a:ext cx="40" cy="95"/>
                </a:xfrm>
                <a:custGeom>
                  <a:avLst/>
                  <a:gdLst>
                    <a:gd name="T0" fmla="*/ 11 w 19"/>
                    <a:gd name="T1" fmla="*/ 17 h 44"/>
                    <a:gd name="T2" fmla="*/ 11 w 19"/>
                    <a:gd name="T3" fmla="*/ 15 h 44"/>
                    <a:gd name="T4" fmla="*/ 8 w 19"/>
                    <a:gd name="T5" fmla="*/ 24 h 44"/>
                    <a:gd name="T6" fmla="*/ 6 w 19"/>
                    <a:gd name="T7" fmla="*/ 26 h 44"/>
                    <a:gd name="T8" fmla="*/ 13 w 19"/>
                    <a:gd name="T9" fmla="*/ 26 h 44"/>
                    <a:gd name="T10" fmla="*/ 11 w 19"/>
                    <a:gd name="T11" fmla="*/ 37 h 44"/>
                    <a:gd name="T12" fmla="*/ 6 w 19"/>
                    <a:gd name="T13" fmla="*/ 50 h 44"/>
                    <a:gd name="T14" fmla="*/ 4 w 19"/>
                    <a:gd name="T15" fmla="*/ 58 h 44"/>
                    <a:gd name="T16" fmla="*/ 2 w 19"/>
                    <a:gd name="T17" fmla="*/ 76 h 44"/>
                    <a:gd name="T18" fmla="*/ 6 w 19"/>
                    <a:gd name="T19" fmla="*/ 86 h 44"/>
                    <a:gd name="T20" fmla="*/ 11 w 19"/>
                    <a:gd name="T21" fmla="*/ 91 h 44"/>
                    <a:gd name="T22" fmla="*/ 13 w 19"/>
                    <a:gd name="T23" fmla="*/ 82 h 44"/>
                    <a:gd name="T24" fmla="*/ 15 w 19"/>
                    <a:gd name="T25" fmla="*/ 71 h 44"/>
                    <a:gd name="T26" fmla="*/ 21 w 19"/>
                    <a:gd name="T27" fmla="*/ 63 h 44"/>
                    <a:gd name="T28" fmla="*/ 23 w 19"/>
                    <a:gd name="T29" fmla="*/ 56 h 44"/>
                    <a:gd name="T30" fmla="*/ 27 w 19"/>
                    <a:gd name="T31" fmla="*/ 50 h 44"/>
                    <a:gd name="T32" fmla="*/ 34 w 19"/>
                    <a:gd name="T33" fmla="*/ 30 h 44"/>
                    <a:gd name="T34" fmla="*/ 34 w 19"/>
                    <a:gd name="T35" fmla="*/ 19 h 44"/>
                    <a:gd name="T36" fmla="*/ 38 w 19"/>
                    <a:gd name="T37" fmla="*/ 4 h 44"/>
                    <a:gd name="T38" fmla="*/ 40 w 19"/>
                    <a:gd name="T39" fmla="*/ 0 h 44"/>
                    <a:gd name="T40" fmla="*/ 17 w 19"/>
                    <a:gd name="T41" fmla="*/ 9 h 44"/>
                    <a:gd name="T42" fmla="*/ 11 w 19"/>
                    <a:gd name="T43" fmla="*/ 17 h 44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19" h="44">
                      <a:moveTo>
                        <a:pt x="5" y="8"/>
                      </a:moveTo>
                      <a:cubicBezTo>
                        <a:pt x="5" y="7"/>
                        <a:pt x="5" y="7"/>
                        <a:pt x="5" y="7"/>
                      </a:cubicBezTo>
                      <a:cubicBezTo>
                        <a:pt x="5" y="8"/>
                        <a:pt x="5" y="10"/>
                        <a:pt x="4" y="11"/>
                      </a:cubicBezTo>
                      <a:cubicBezTo>
                        <a:pt x="3" y="11"/>
                        <a:pt x="3" y="12"/>
                        <a:pt x="3" y="12"/>
                      </a:cubicBezTo>
                      <a:cubicBezTo>
                        <a:pt x="4" y="13"/>
                        <a:pt x="6" y="12"/>
                        <a:pt x="6" y="12"/>
                      </a:cubicBezTo>
                      <a:cubicBezTo>
                        <a:pt x="7" y="13"/>
                        <a:pt x="5" y="15"/>
                        <a:pt x="5" y="17"/>
                      </a:cubicBezTo>
                      <a:cubicBezTo>
                        <a:pt x="5" y="18"/>
                        <a:pt x="4" y="21"/>
                        <a:pt x="3" y="23"/>
                      </a:cubicBezTo>
                      <a:cubicBezTo>
                        <a:pt x="2" y="25"/>
                        <a:pt x="2" y="27"/>
                        <a:pt x="2" y="27"/>
                      </a:cubicBezTo>
                      <a:cubicBezTo>
                        <a:pt x="2" y="27"/>
                        <a:pt x="0" y="33"/>
                        <a:pt x="1" y="35"/>
                      </a:cubicBezTo>
                      <a:cubicBezTo>
                        <a:pt x="2" y="38"/>
                        <a:pt x="3" y="40"/>
                        <a:pt x="3" y="40"/>
                      </a:cubicBezTo>
                      <a:cubicBezTo>
                        <a:pt x="3" y="40"/>
                        <a:pt x="4" y="44"/>
                        <a:pt x="5" y="42"/>
                      </a:cubicBezTo>
                      <a:cubicBezTo>
                        <a:pt x="6" y="41"/>
                        <a:pt x="5" y="39"/>
                        <a:pt x="6" y="38"/>
                      </a:cubicBezTo>
                      <a:cubicBezTo>
                        <a:pt x="6" y="38"/>
                        <a:pt x="7" y="35"/>
                        <a:pt x="7" y="33"/>
                      </a:cubicBezTo>
                      <a:cubicBezTo>
                        <a:pt x="7" y="32"/>
                        <a:pt x="8" y="30"/>
                        <a:pt x="10" y="29"/>
                      </a:cubicBezTo>
                      <a:cubicBezTo>
                        <a:pt x="11" y="27"/>
                        <a:pt x="10" y="27"/>
                        <a:pt x="11" y="26"/>
                      </a:cubicBezTo>
                      <a:cubicBezTo>
                        <a:pt x="13" y="24"/>
                        <a:pt x="13" y="25"/>
                        <a:pt x="13" y="23"/>
                      </a:cubicBezTo>
                      <a:cubicBezTo>
                        <a:pt x="13" y="18"/>
                        <a:pt x="16" y="17"/>
                        <a:pt x="16" y="14"/>
                      </a:cubicBezTo>
                      <a:cubicBezTo>
                        <a:pt x="16" y="11"/>
                        <a:pt x="16" y="11"/>
                        <a:pt x="16" y="9"/>
                      </a:cubicBezTo>
                      <a:cubicBezTo>
                        <a:pt x="16" y="6"/>
                        <a:pt x="17" y="3"/>
                        <a:pt x="18" y="2"/>
                      </a:cubicBezTo>
                      <a:cubicBezTo>
                        <a:pt x="19" y="2"/>
                        <a:pt x="19" y="1"/>
                        <a:pt x="19" y="0"/>
                      </a:cubicBezTo>
                      <a:cubicBezTo>
                        <a:pt x="8" y="4"/>
                        <a:pt x="8" y="4"/>
                        <a:pt x="8" y="4"/>
                      </a:cubicBezTo>
                      <a:lnTo>
                        <a:pt x="5" y="8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1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27A5A03-2E90-4388-94E9-7C8331498E23}"/>
              </a:ext>
            </a:extLst>
          </p:cNvPr>
          <p:cNvGrpSpPr/>
          <p:nvPr/>
        </p:nvGrpSpPr>
        <p:grpSpPr bwMode="gray">
          <a:xfrm>
            <a:off x="7081284" y="2288002"/>
            <a:ext cx="1381790" cy="1101653"/>
            <a:chOff x="9441711" y="2166082"/>
            <a:chExt cx="1842387" cy="1468871"/>
          </a:xfrm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74B9874-2141-4DD4-94EF-A59C72C2AF07}"/>
                </a:ext>
              </a:extLst>
            </p:cNvPr>
            <p:cNvSpPr/>
            <p:nvPr/>
          </p:nvSpPr>
          <p:spPr bwMode="gray">
            <a:xfrm>
              <a:off x="9441711" y="2166082"/>
              <a:ext cx="740022" cy="1468871"/>
            </a:xfrm>
            <a:custGeom>
              <a:avLst/>
              <a:gdLst>
                <a:gd name="connsiteX0" fmla="*/ 0 w 754911"/>
                <a:gd name="connsiteY0" fmla="*/ 1137684 h 1456660"/>
                <a:gd name="connsiteX1" fmla="*/ 754911 w 754911"/>
                <a:gd name="connsiteY1" fmla="*/ 0 h 1456660"/>
                <a:gd name="connsiteX2" fmla="*/ 754911 w 754911"/>
                <a:gd name="connsiteY2" fmla="*/ 1456660 h 1456660"/>
                <a:gd name="connsiteX3" fmla="*/ 10632 w 754911"/>
                <a:gd name="connsiteY3" fmla="*/ 1424763 h 1456660"/>
                <a:gd name="connsiteX4" fmla="*/ 95693 w 754911"/>
                <a:gd name="connsiteY4" fmla="*/ 1360967 h 1456660"/>
                <a:gd name="connsiteX5" fmla="*/ 116958 w 754911"/>
                <a:gd name="connsiteY5" fmla="*/ 1275907 h 1456660"/>
                <a:gd name="connsiteX6" fmla="*/ 95693 w 754911"/>
                <a:gd name="connsiteY6" fmla="*/ 1212111 h 1456660"/>
                <a:gd name="connsiteX7" fmla="*/ 0 w 754911"/>
                <a:gd name="connsiteY7" fmla="*/ 1137684 h 1456660"/>
                <a:gd name="connsiteX0" fmla="*/ 0 w 754911"/>
                <a:gd name="connsiteY0" fmla="*/ 1134732 h 1453708"/>
                <a:gd name="connsiteX1" fmla="*/ 743102 w 754911"/>
                <a:gd name="connsiteY1" fmla="*/ 0 h 1453708"/>
                <a:gd name="connsiteX2" fmla="*/ 754911 w 754911"/>
                <a:gd name="connsiteY2" fmla="*/ 1453708 h 1453708"/>
                <a:gd name="connsiteX3" fmla="*/ 10632 w 754911"/>
                <a:gd name="connsiteY3" fmla="*/ 1421811 h 1453708"/>
                <a:gd name="connsiteX4" fmla="*/ 95693 w 754911"/>
                <a:gd name="connsiteY4" fmla="*/ 1358015 h 1453708"/>
                <a:gd name="connsiteX5" fmla="*/ 116958 w 754911"/>
                <a:gd name="connsiteY5" fmla="*/ 1272955 h 1453708"/>
                <a:gd name="connsiteX6" fmla="*/ 95693 w 754911"/>
                <a:gd name="connsiteY6" fmla="*/ 1209159 h 1453708"/>
                <a:gd name="connsiteX7" fmla="*/ 0 w 754911"/>
                <a:gd name="connsiteY7" fmla="*/ 1134732 h 1453708"/>
                <a:gd name="connsiteX0" fmla="*/ 0 w 743817"/>
                <a:gd name="connsiteY0" fmla="*/ 1134732 h 1459613"/>
                <a:gd name="connsiteX1" fmla="*/ 743102 w 743817"/>
                <a:gd name="connsiteY1" fmla="*/ 0 h 1459613"/>
                <a:gd name="connsiteX2" fmla="*/ 737197 w 743817"/>
                <a:gd name="connsiteY2" fmla="*/ 1459613 h 1459613"/>
                <a:gd name="connsiteX3" fmla="*/ 10632 w 743817"/>
                <a:gd name="connsiteY3" fmla="*/ 1421811 h 1459613"/>
                <a:gd name="connsiteX4" fmla="*/ 95693 w 743817"/>
                <a:gd name="connsiteY4" fmla="*/ 1358015 h 1459613"/>
                <a:gd name="connsiteX5" fmla="*/ 116958 w 743817"/>
                <a:gd name="connsiteY5" fmla="*/ 1272955 h 1459613"/>
                <a:gd name="connsiteX6" fmla="*/ 95693 w 743817"/>
                <a:gd name="connsiteY6" fmla="*/ 1209159 h 1459613"/>
                <a:gd name="connsiteX7" fmla="*/ 0 w 743817"/>
                <a:gd name="connsiteY7" fmla="*/ 1134732 h 1459613"/>
                <a:gd name="connsiteX0" fmla="*/ 0 w 738333"/>
                <a:gd name="connsiteY0" fmla="*/ 1140637 h 1465518"/>
                <a:gd name="connsiteX1" fmla="*/ 737197 w 738333"/>
                <a:gd name="connsiteY1" fmla="*/ 0 h 1465518"/>
                <a:gd name="connsiteX2" fmla="*/ 737197 w 738333"/>
                <a:gd name="connsiteY2" fmla="*/ 1465518 h 1465518"/>
                <a:gd name="connsiteX3" fmla="*/ 10632 w 738333"/>
                <a:gd name="connsiteY3" fmla="*/ 1427716 h 1465518"/>
                <a:gd name="connsiteX4" fmla="*/ 95693 w 738333"/>
                <a:gd name="connsiteY4" fmla="*/ 1363920 h 1465518"/>
                <a:gd name="connsiteX5" fmla="*/ 116958 w 738333"/>
                <a:gd name="connsiteY5" fmla="*/ 1278860 h 1465518"/>
                <a:gd name="connsiteX6" fmla="*/ 95693 w 738333"/>
                <a:gd name="connsiteY6" fmla="*/ 1215064 h 1465518"/>
                <a:gd name="connsiteX7" fmla="*/ 0 w 738333"/>
                <a:gd name="connsiteY7" fmla="*/ 1140637 h 1465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8333" h="1465518">
                  <a:moveTo>
                    <a:pt x="0" y="1140637"/>
                  </a:moveTo>
                  <a:lnTo>
                    <a:pt x="737197" y="0"/>
                  </a:lnTo>
                  <a:cubicBezTo>
                    <a:pt x="741133" y="484569"/>
                    <a:pt x="733261" y="980949"/>
                    <a:pt x="737197" y="1465518"/>
                  </a:cubicBezTo>
                  <a:lnTo>
                    <a:pt x="10632" y="1427716"/>
                  </a:lnTo>
                  <a:lnTo>
                    <a:pt x="95693" y="1363920"/>
                  </a:lnTo>
                  <a:lnTo>
                    <a:pt x="116958" y="1278860"/>
                  </a:lnTo>
                  <a:lnTo>
                    <a:pt x="95693" y="1215064"/>
                  </a:lnTo>
                  <a:lnTo>
                    <a:pt x="0" y="1140637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7DE2691A-A181-4690-8163-345A8BF29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10189866" y="2169550"/>
              <a:ext cx="1094232" cy="1458976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</p:grpSp>
      <p:sp>
        <p:nvSpPr>
          <p:cNvPr id="89" name="Oval 88">
            <a:extLst>
              <a:ext uri="{FF2B5EF4-FFF2-40B4-BE49-F238E27FC236}">
                <a16:creationId xmlns:a16="http://schemas.microsoft.com/office/drawing/2014/main" id="{D45D8A40-6C75-427F-9102-0A1444BBF018}"/>
              </a:ext>
            </a:extLst>
          </p:cNvPr>
          <p:cNvSpPr/>
          <p:nvPr/>
        </p:nvSpPr>
        <p:spPr bwMode="gray">
          <a:xfrm>
            <a:off x="6964210" y="3149798"/>
            <a:ext cx="204027" cy="204027"/>
          </a:xfrm>
          <a:prstGeom prst="ellipse">
            <a:avLst/>
          </a:prstGeom>
          <a:solidFill>
            <a:schemeClr val="accent5">
              <a:alpha val="5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690CA18-B861-4CED-BE78-0A9E2CB13A2E}"/>
              </a:ext>
            </a:extLst>
          </p:cNvPr>
          <p:cNvGrpSpPr/>
          <p:nvPr/>
        </p:nvGrpSpPr>
        <p:grpSpPr bwMode="gray">
          <a:xfrm>
            <a:off x="6858000" y="3503356"/>
            <a:ext cx="1605074" cy="844061"/>
            <a:chOff x="9144000" y="3786554"/>
            <a:chExt cx="2140098" cy="1125415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BE514614-71E5-4CC9-A8B9-205D28CB96AF}"/>
                </a:ext>
              </a:extLst>
            </p:cNvPr>
            <p:cNvSpPr/>
            <p:nvPr/>
          </p:nvSpPr>
          <p:spPr bwMode="gray">
            <a:xfrm>
              <a:off x="9144000" y="3786554"/>
              <a:ext cx="597536" cy="1125415"/>
            </a:xfrm>
            <a:custGeom>
              <a:avLst/>
              <a:gdLst>
                <a:gd name="connsiteX0" fmla="*/ 23446 w 633046"/>
                <a:gd name="connsiteY0" fmla="*/ 0 h 1125415"/>
                <a:gd name="connsiteX1" fmla="*/ 633046 w 633046"/>
                <a:gd name="connsiteY1" fmla="*/ 93784 h 1125415"/>
                <a:gd name="connsiteX2" fmla="*/ 633046 w 633046"/>
                <a:gd name="connsiteY2" fmla="*/ 1125415 h 1125415"/>
                <a:gd name="connsiteX3" fmla="*/ 0 w 633046"/>
                <a:gd name="connsiteY3" fmla="*/ 281354 h 1125415"/>
                <a:gd name="connsiteX4" fmla="*/ 140677 w 633046"/>
                <a:gd name="connsiteY4" fmla="*/ 222738 h 1125415"/>
                <a:gd name="connsiteX5" fmla="*/ 164123 w 633046"/>
                <a:gd name="connsiteY5" fmla="*/ 128954 h 1125415"/>
                <a:gd name="connsiteX6" fmla="*/ 70338 w 633046"/>
                <a:gd name="connsiteY6" fmla="*/ 23446 h 1125415"/>
                <a:gd name="connsiteX7" fmla="*/ 23446 w 633046"/>
                <a:gd name="connsiteY7" fmla="*/ 0 h 1125415"/>
                <a:gd name="connsiteX0" fmla="*/ 23446 w 633046"/>
                <a:gd name="connsiteY0" fmla="*/ 0 h 1125415"/>
                <a:gd name="connsiteX1" fmla="*/ 597536 w 633046"/>
                <a:gd name="connsiteY1" fmla="*/ 81947 h 1125415"/>
                <a:gd name="connsiteX2" fmla="*/ 633046 w 633046"/>
                <a:gd name="connsiteY2" fmla="*/ 1125415 h 1125415"/>
                <a:gd name="connsiteX3" fmla="*/ 0 w 633046"/>
                <a:gd name="connsiteY3" fmla="*/ 281354 h 1125415"/>
                <a:gd name="connsiteX4" fmla="*/ 140677 w 633046"/>
                <a:gd name="connsiteY4" fmla="*/ 222738 h 1125415"/>
                <a:gd name="connsiteX5" fmla="*/ 164123 w 633046"/>
                <a:gd name="connsiteY5" fmla="*/ 128954 h 1125415"/>
                <a:gd name="connsiteX6" fmla="*/ 70338 w 633046"/>
                <a:gd name="connsiteY6" fmla="*/ 23446 h 1125415"/>
                <a:gd name="connsiteX7" fmla="*/ 23446 w 633046"/>
                <a:gd name="connsiteY7" fmla="*/ 0 h 1125415"/>
                <a:gd name="connsiteX0" fmla="*/ 23446 w 597536"/>
                <a:gd name="connsiteY0" fmla="*/ 0 h 1125415"/>
                <a:gd name="connsiteX1" fmla="*/ 597536 w 597536"/>
                <a:gd name="connsiteY1" fmla="*/ 81947 h 1125415"/>
                <a:gd name="connsiteX2" fmla="*/ 594576 w 597536"/>
                <a:gd name="connsiteY2" fmla="*/ 1125415 h 1125415"/>
                <a:gd name="connsiteX3" fmla="*/ 0 w 597536"/>
                <a:gd name="connsiteY3" fmla="*/ 281354 h 1125415"/>
                <a:gd name="connsiteX4" fmla="*/ 140677 w 597536"/>
                <a:gd name="connsiteY4" fmla="*/ 222738 h 1125415"/>
                <a:gd name="connsiteX5" fmla="*/ 164123 w 597536"/>
                <a:gd name="connsiteY5" fmla="*/ 128954 h 1125415"/>
                <a:gd name="connsiteX6" fmla="*/ 70338 w 597536"/>
                <a:gd name="connsiteY6" fmla="*/ 23446 h 1125415"/>
                <a:gd name="connsiteX7" fmla="*/ 23446 w 597536"/>
                <a:gd name="connsiteY7" fmla="*/ 0 h 112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536" h="1125415">
                  <a:moveTo>
                    <a:pt x="23446" y="0"/>
                  </a:moveTo>
                  <a:lnTo>
                    <a:pt x="597536" y="81947"/>
                  </a:lnTo>
                  <a:cubicBezTo>
                    <a:pt x="596549" y="429770"/>
                    <a:pt x="595563" y="777592"/>
                    <a:pt x="594576" y="1125415"/>
                  </a:cubicBezTo>
                  <a:lnTo>
                    <a:pt x="0" y="281354"/>
                  </a:lnTo>
                  <a:lnTo>
                    <a:pt x="140677" y="222738"/>
                  </a:lnTo>
                  <a:lnTo>
                    <a:pt x="164123" y="128954"/>
                  </a:lnTo>
                  <a:lnTo>
                    <a:pt x="70338" y="23446"/>
                  </a:lnTo>
                  <a:lnTo>
                    <a:pt x="23446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1CE0EDB8-A441-4583-B96B-6A90BA6E516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9747906" y="3868232"/>
              <a:ext cx="1536192" cy="1039188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</p:grpSp>
      <p:sp>
        <p:nvSpPr>
          <p:cNvPr id="93" name="Oval 92">
            <a:extLst>
              <a:ext uri="{FF2B5EF4-FFF2-40B4-BE49-F238E27FC236}">
                <a16:creationId xmlns:a16="http://schemas.microsoft.com/office/drawing/2014/main" id="{2F28F5AC-69B8-4ADB-A63B-7F6B0A56CA8A}"/>
              </a:ext>
            </a:extLst>
          </p:cNvPr>
          <p:cNvSpPr/>
          <p:nvPr/>
        </p:nvSpPr>
        <p:spPr bwMode="gray">
          <a:xfrm>
            <a:off x="6765190" y="3510812"/>
            <a:ext cx="204027" cy="204027"/>
          </a:xfrm>
          <a:prstGeom prst="ellipse">
            <a:avLst/>
          </a:prstGeom>
          <a:solidFill>
            <a:schemeClr val="accent5">
              <a:alpha val="5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6B3CC4F0-FFC7-48C4-857C-E823627B0980}"/>
              </a:ext>
            </a:extLst>
          </p:cNvPr>
          <p:cNvSpPr/>
          <p:nvPr/>
        </p:nvSpPr>
        <p:spPr bwMode="gray">
          <a:xfrm>
            <a:off x="6525490" y="3307512"/>
            <a:ext cx="204027" cy="204027"/>
          </a:xfrm>
          <a:prstGeom prst="ellipse">
            <a:avLst/>
          </a:prstGeom>
          <a:solidFill>
            <a:schemeClr val="accent5">
              <a:alpha val="5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44622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3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89" grpId="0" animBg="1"/>
      <p:bldP spid="89" grpId="1" animBg="1"/>
      <p:bldP spid="93" grpId="0" animBg="1"/>
      <p:bldP spid="93" grpId="1" animBg="1"/>
      <p:bldP spid="94" grpId="0" animBg="1"/>
      <p:bldP spid="94" grpId="1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CA12C19-2543-4417-B795-F5D0C4D906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CA12C19-2543-4417-B795-F5D0C4D906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B179C00-0AE5-4C28-827F-78EC61C1F9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25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A0590F-2698-3747-A827-1DAE4A1C5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cations: Global pandemics are uninsurable 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A12BCFE-04A5-49A4-8C9E-7E4865EB5DAA}"/>
              </a:ext>
            </a:extLst>
          </p:cNvPr>
          <p:cNvSpPr txBox="1">
            <a:spLocks/>
          </p:cNvSpPr>
          <p:nvPr/>
        </p:nvSpPr>
        <p:spPr bwMode="gray">
          <a:xfrm>
            <a:off x="355514" y="1603670"/>
            <a:ext cx="8382657" cy="460762"/>
          </a:xfrm>
          <a:prstGeom prst="snip1Rect">
            <a:avLst>
              <a:gd name="adj" fmla="val 29185"/>
            </a:avLst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37160" tIns="68580" rIns="137160" bIns="13716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85800">
              <a:spcBef>
                <a:spcPts val="0"/>
              </a:spcBef>
              <a:buClr>
                <a:srgbClr val="F69322"/>
              </a:buClr>
              <a:defRPr/>
            </a:pPr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Impact of Coronaviru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94978AD-45D2-4E3E-B758-16B26140688F}"/>
              </a:ext>
            </a:extLst>
          </p:cNvPr>
          <p:cNvGrpSpPr/>
          <p:nvPr/>
        </p:nvGrpSpPr>
        <p:grpSpPr bwMode="gray">
          <a:xfrm>
            <a:off x="641669" y="2184740"/>
            <a:ext cx="6898322" cy="3198087"/>
            <a:chOff x="855559" y="2028400"/>
            <a:chExt cx="9197762" cy="4264116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7729631-E997-490E-9A8B-B821634D0358}"/>
                </a:ext>
              </a:extLst>
            </p:cNvPr>
            <p:cNvGrpSpPr/>
            <p:nvPr/>
          </p:nvGrpSpPr>
          <p:grpSpPr bwMode="gray">
            <a:xfrm>
              <a:off x="855559" y="2709419"/>
              <a:ext cx="1837493" cy="2470684"/>
              <a:chOff x="855559" y="2709419"/>
              <a:chExt cx="1837493" cy="2470684"/>
            </a:xfrm>
            <a:solidFill>
              <a:schemeClr val="accent2">
                <a:lumMod val="40000"/>
                <a:lumOff val="60000"/>
              </a:schemeClr>
            </a:solidFill>
          </p:grpSpPr>
          <p:grpSp>
            <p:nvGrpSpPr>
              <p:cNvPr id="68" name="Group 49">
                <a:extLst>
                  <a:ext uri="{FF2B5EF4-FFF2-40B4-BE49-F238E27FC236}">
                    <a16:creationId xmlns:a16="http://schemas.microsoft.com/office/drawing/2014/main" id="{F0CF97FF-1B79-407C-8B91-0AD736718450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1189644" y="4457456"/>
                <a:ext cx="1071453" cy="722647"/>
                <a:chOff x="4817" y="3316"/>
                <a:chExt cx="1149" cy="776"/>
              </a:xfrm>
              <a:grpFill/>
            </p:grpSpPr>
            <p:sp>
              <p:nvSpPr>
                <p:cNvPr id="81" name="Freeform 50">
                  <a:extLst>
                    <a:ext uri="{FF2B5EF4-FFF2-40B4-BE49-F238E27FC236}">
                      <a16:creationId xmlns:a16="http://schemas.microsoft.com/office/drawing/2014/main" id="{188E3479-A74C-4B22-9913-A41D1199D71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80" y="3787"/>
                  <a:ext cx="286" cy="305"/>
                </a:xfrm>
                <a:custGeom>
                  <a:avLst/>
                  <a:gdLst>
                    <a:gd name="T0" fmla="*/ 92 w 856"/>
                    <a:gd name="T1" fmla="*/ 297 h 914"/>
                    <a:gd name="T2" fmla="*/ 113 w 856"/>
                    <a:gd name="T3" fmla="*/ 290 h 914"/>
                    <a:gd name="T4" fmla="*/ 111 w 856"/>
                    <a:gd name="T5" fmla="*/ 278 h 914"/>
                    <a:gd name="T6" fmla="*/ 144 w 856"/>
                    <a:gd name="T7" fmla="*/ 259 h 914"/>
                    <a:gd name="T8" fmla="*/ 172 w 856"/>
                    <a:gd name="T9" fmla="*/ 223 h 914"/>
                    <a:gd name="T10" fmla="*/ 190 w 856"/>
                    <a:gd name="T11" fmla="*/ 240 h 914"/>
                    <a:gd name="T12" fmla="*/ 227 w 856"/>
                    <a:gd name="T13" fmla="*/ 220 h 914"/>
                    <a:gd name="T14" fmla="*/ 246 w 856"/>
                    <a:gd name="T15" fmla="*/ 208 h 914"/>
                    <a:gd name="T16" fmla="*/ 255 w 856"/>
                    <a:gd name="T17" fmla="*/ 190 h 914"/>
                    <a:gd name="T18" fmla="*/ 282 w 856"/>
                    <a:gd name="T19" fmla="*/ 174 h 914"/>
                    <a:gd name="T20" fmla="*/ 286 w 856"/>
                    <a:gd name="T21" fmla="*/ 158 h 914"/>
                    <a:gd name="T22" fmla="*/ 258 w 856"/>
                    <a:gd name="T23" fmla="*/ 150 h 914"/>
                    <a:gd name="T24" fmla="*/ 246 w 856"/>
                    <a:gd name="T25" fmla="*/ 109 h 914"/>
                    <a:gd name="T26" fmla="*/ 219 w 856"/>
                    <a:gd name="T27" fmla="*/ 115 h 914"/>
                    <a:gd name="T28" fmla="*/ 219 w 856"/>
                    <a:gd name="T29" fmla="*/ 89 h 914"/>
                    <a:gd name="T30" fmla="*/ 205 w 856"/>
                    <a:gd name="T31" fmla="*/ 74 h 914"/>
                    <a:gd name="T32" fmla="*/ 163 w 856"/>
                    <a:gd name="T33" fmla="*/ 47 h 914"/>
                    <a:gd name="T34" fmla="*/ 131 w 856"/>
                    <a:gd name="T35" fmla="*/ 43 h 914"/>
                    <a:gd name="T36" fmla="*/ 116 w 856"/>
                    <a:gd name="T37" fmla="*/ 27 h 914"/>
                    <a:gd name="T38" fmla="*/ 49 w 856"/>
                    <a:gd name="T39" fmla="*/ 0 h 914"/>
                    <a:gd name="T40" fmla="*/ 40 w 856"/>
                    <a:gd name="T41" fmla="*/ 8 h 914"/>
                    <a:gd name="T42" fmla="*/ 40 w 856"/>
                    <a:gd name="T43" fmla="*/ 31 h 914"/>
                    <a:gd name="T44" fmla="*/ 52 w 856"/>
                    <a:gd name="T45" fmla="*/ 38 h 914"/>
                    <a:gd name="T46" fmla="*/ 52 w 856"/>
                    <a:gd name="T47" fmla="*/ 62 h 914"/>
                    <a:gd name="T48" fmla="*/ 42 w 856"/>
                    <a:gd name="T49" fmla="*/ 77 h 914"/>
                    <a:gd name="T50" fmla="*/ 33 w 856"/>
                    <a:gd name="T51" fmla="*/ 89 h 914"/>
                    <a:gd name="T52" fmla="*/ 16 w 856"/>
                    <a:gd name="T53" fmla="*/ 93 h 914"/>
                    <a:gd name="T54" fmla="*/ 0 w 856"/>
                    <a:gd name="T55" fmla="*/ 123 h 914"/>
                    <a:gd name="T56" fmla="*/ 36 w 856"/>
                    <a:gd name="T57" fmla="*/ 201 h 914"/>
                    <a:gd name="T58" fmla="*/ 36 w 856"/>
                    <a:gd name="T59" fmla="*/ 251 h 914"/>
                    <a:gd name="T60" fmla="*/ 30 w 856"/>
                    <a:gd name="T61" fmla="*/ 266 h 914"/>
                    <a:gd name="T62" fmla="*/ 36 w 856"/>
                    <a:gd name="T63" fmla="*/ 286 h 914"/>
                    <a:gd name="T64" fmla="*/ 79 w 856"/>
                    <a:gd name="T65" fmla="*/ 305 h 914"/>
                    <a:gd name="T66" fmla="*/ 92 w 856"/>
                    <a:gd name="T67" fmla="*/ 297 h 914"/>
                    <a:gd name="T68" fmla="*/ 92 w 856"/>
                    <a:gd name="T69" fmla="*/ 297 h 914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856" h="914">
                      <a:moveTo>
                        <a:pt x="275" y="890"/>
                      </a:moveTo>
                      <a:lnTo>
                        <a:pt x="339" y="869"/>
                      </a:lnTo>
                      <a:lnTo>
                        <a:pt x="331" y="834"/>
                      </a:lnTo>
                      <a:lnTo>
                        <a:pt x="431" y="776"/>
                      </a:lnTo>
                      <a:lnTo>
                        <a:pt x="514" y="669"/>
                      </a:lnTo>
                      <a:lnTo>
                        <a:pt x="570" y="718"/>
                      </a:lnTo>
                      <a:lnTo>
                        <a:pt x="679" y="659"/>
                      </a:lnTo>
                      <a:lnTo>
                        <a:pt x="735" y="624"/>
                      </a:lnTo>
                      <a:lnTo>
                        <a:pt x="763" y="568"/>
                      </a:lnTo>
                      <a:lnTo>
                        <a:pt x="845" y="520"/>
                      </a:lnTo>
                      <a:lnTo>
                        <a:pt x="856" y="474"/>
                      </a:lnTo>
                      <a:lnTo>
                        <a:pt x="772" y="451"/>
                      </a:lnTo>
                      <a:lnTo>
                        <a:pt x="735" y="326"/>
                      </a:lnTo>
                      <a:lnTo>
                        <a:pt x="654" y="345"/>
                      </a:lnTo>
                      <a:lnTo>
                        <a:pt x="654" y="266"/>
                      </a:lnTo>
                      <a:lnTo>
                        <a:pt x="615" y="221"/>
                      </a:lnTo>
                      <a:lnTo>
                        <a:pt x="487" y="140"/>
                      </a:lnTo>
                      <a:lnTo>
                        <a:pt x="393" y="128"/>
                      </a:lnTo>
                      <a:lnTo>
                        <a:pt x="348" y="82"/>
                      </a:lnTo>
                      <a:lnTo>
                        <a:pt x="146" y="0"/>
                      </a:lnTo>
                      <a:lnTo>
                        <a:pt x="119" y="24"/>
                      </a:lnTo>
                      <a:lnTo>
                        <a:pt x="119" y="93"/>
                      </a:lnTo>
                      <a:lnTo>
                        <a:pt x="156" y="114"/>
                      </a:lnTo>
                      <a:lnTo>
                        <a:pt x="156" y="187"/>
                      </a:lnTo>
                      <a:lnTo>
                        <a:pt x="127" y="232"/>
                      </a:lnTo>
                      <a:lnTo>
                        <a:pt x="99" y="266"/>
                      </a:lnTo>
                      <a:lnTo>
                        <a:pt x="47" y="279"/>
                      </a:lnTo>
                      <a:lnTo>
                        <a:pt x="0" y="368"/>
                      </a:lnTo>
                      <a:lnTo>
                        <a:pt x="109" y="602"/>
                      </a:lnTo>
                      <a:lnTo>
                        <a:pt x="109" y="752"/>
                      </a:lnTo>
                      <a:lnTo>
                        <a:pt x="89" y="796"/>
                      </a:lnTo>
                      <a:lnTo>
                        <a:pt x="109" y="856"/>
                      </a:lnTo>
                      <a:lnTo>
                        <a:pt x="237" y="914"/>
                      </a:lnTo>
                      <a:lnTo>
                        <a:pt x="275" y="89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2" name="Freeform 51">
                  <a:extLst>
                    <a:ext uri="{FF2B5EF4-FFF2-40B4-BE49-F238E27FC236}">
                      <a16:creationId xmlns:a16="http://schemas.microsoft.com/office/drawing/2014/main" id="{C5F96057-34BF-40A2-B71C-94EB6A6BE77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23" y="3590"/>
                  <a:ext cx="169" cy="108"/>
                </a:xfrm>
                <a:custGeom>
                  <a:avLst/>
                  <a:gdLst>
                    <a:gd name="T0" fmla="*/ 169 w 506"/>
                    <a:gd name="T1" fmla="*/ 73 h 324"/>
                    <a:gd name="T2" fmla="*/ 169 w 506"/>
                    <a:gd name="T3" fmla="*/ 51 h 324"/>
                    <a:gd name="T4" fmla="*/ 139 w 506"/>
                    <a:gd name="T5" fmla="*/ 43 h 324"/>
                    <a:gd name="T6" fmla="*/ 133 w 506"/>
                    <a:gd name="T7" fmla="*/ 27 h 324"/>
                    <a:gd name="T8" fmla="*/ 120 w 506"/>
                    <a:gd name="T9" fmla="*/ 27 h 324"/>
                    <a:gd name="T10" fmla="*/ 108 w 506"/>
                    <a:gd name="T11" fmla="*/ 9 h 324"/>
                    <a:gd name="T12" fmla="*/ 74 w 506"/>
                    <a:gd name="T13" fmla="*/ 9 h 324"/>
                    <a:gd name="T14" fmla="*/ 50 w 506"/>
                    <a:gd name="T15" fmla="*/ 27 h 324"/>
                    <a:gd name="T16" fmla="*/ 31 w 506"/>
                    <a:gd name="T17" fmla="*/ 0 h 324"/>
                    <a:gd name="T18" fmla="*/ 16 w 506"/>
                    <a:gd name="T19" fmla="*/ 0 h 324"/>
                    <a:gd name="T20" fmla="*/ 0 w 506"/>
                    <a:gd name="T21" fmla="*/ 16 h 324"/>
                    <a:gd name="T22" fmla="*/ 10 w 506"/>
                    <a:gd name="T23" fmla="*/ 43 h 324"/>
                    <a:gd name="T24" fmla="*/ 37 w 506"/>
                    <a:gd name="T25" fmla="*/ 59 h 324"/>
                    <a:gd name="T26" fmla="*/ 58 w 506"/>
                    <a:gd name="T27" fmla="*/ 81 h 324"/>
                    <a:gd name="T28" fmla="*/ 53 w 506"/>
                    <a:gd name="T29" fmla="*/ 93 h 324"/>
                    <a:gd name="T30" fmla="*/ 90 w 506"/>
                    <a:gd name="T31" fmla="*/ 108 h 324"/>
                    <a:gd name="T32" fmla="*/ 117 w 506"/>
                    <a:gd name="T33" fmla="*/ 89 h 324"/>
                    <a:gd name="T34" fmla="*/ 149 w 506"/>
                    <a:gd name="T35" fmla="*/ 89 h 324"/>
                    <a:gd name="T36" fmla="*/ 169 w 506"/>
                    <a:gd name="T37" fmla="*/ 73 h 324"/>
                    <a:gd name="T38" fmla="*/ 169 w 506"/>
                    <a:gd name="T39" fmla="*/ 73 h 32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506" h="324">
                      <a:moveTo>
                        <a:pt x="506" y="219"/>
                      </a:moveTo>
                      <a:lnTo>
                        <a:pt x="506" y="152"/>
                      </a:lnTo>
                      <a:lnTo>
                        <a:pt x="415" y="128"/>
                      </a:lnTo>
                      <a:lnTo>
                        <a:pt x="398" y="80"/>
                      </a:lnTo>
                      <a:lnTo>
                        <a:pt x="359" y="80"/>
                      </a:lnTo>
                      <a:lnTo>
                        <a:pt x="323" y="27"/>
                      </a:lnTo>
                      <a:lnTo>
                        <a:pt x="222" y="27"/>
                      </a:lnTo>
                      <a:lnTo>
                        <a:pt x="150" y="80"/>
                      </a:lnTo>
                      <a:lnTo>
                        <a:pt x="94" y="0"/>
                      </a:lnTo>
                      <a:lnTo>
                        <a:pt x="48" y="0"/>
                      </a:lnTo>
                      <a:lnTo>
                        <a:pt x="0" y="48"/>
                      </a:lnTo>
                      <a:lnTo>
                        <a:pt x="30" y="128"/>
                      </a:lnTo>
                      <a:lnTo>
                        <a:pt x="111" y="176"/>
                      </a:lnTo>
                      <a:lnTo>
                        <a:pt x="174" y="244"/>
                      </a:lnTo>
                      <a:lnTo>
                        <a:pt x="158" y="280"/>
                      </a:lnTo>
                      <a:lnTo>
                        <a:pt x="270" y="324"/>
                      </a:lnTo>
                      <a:lnTo>
                        <a:pt x="350" y="268"/>
                      </a:lnTo>
                      <a:lnTo>
                        <a:pt x="445" y="268"/>
                      </a:lnTo>
                      <a:lnTo>
                        <a:pt x="506" y="219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3" name="Freeform 52">
                  <a:extLst>
                    <a:ext uri="{FF2B5EF4-FFF2-40B4-BE49-F238E27FC236}">
                      <a16:creationId xmlns:a16="http://schemas.microsoft.com/office/drawing/2014/main" id="{A4DEF039-8417-4F12-B0E7-AD76480A062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29" y="3675"/>
                  <a:ext cx="37" cy="39"/>
                </a:xfrm>
                <a:custGeom>
                  <a:avLst/>
                  <a:gdLst>
                    <a:gd name="T0" fmla="*/ 37 w 110"/>
                    <a:gd name="T1" fmla="*/ 36 h 115"/>
                    <a:gd name="T2" fmla="*/ 31 w 110"/>
                    <a:gd name="T3" fmla="*/ 0 h 115"/>
                    <a:gd name="T4" fmla="*/ 0 w 110"/>
                    <a:gd name="T5" fmla="*/ 31 h 115"/>
                    <a:gd name="T6" fmla="*/ 4 w 110"/>
                    <a:gd name="T7" fmla="*/ 39 h 115"/>
                    <a:gd name="T8" fmla="*/ 37 w 110"/>
                    <a:gd name="T9" fmla="*/ 36 h 115"/>
                    <a:gd name="T10" fmla="*/ 37 w 110"/>
                    <a:gd name="T11" fmla="*/ 36 h 11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10" h="115">
                      <a:moveTo>
                        <a:pt x="110" y="107"/>
                      </a:moveTo>
                      <a:lnTo>
                        <a:pt x="92" y="0"/>
                      </a:lnTo>
                      <a:lnTo>
                        <a:pt x="0" y="91"/>
                      </a:lnTo>
                      <a:lnTo>
                        <a:pt x="11" y="115"/>
                      </a:lnTo>
                      <a:lnTo>
                        <a:pt x="110" y="107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4" name="Freeform 53">
                  <a:extLst>
                    <a:ext uri="{FF2B5EF4-FFF2-40B4-BE49-F238E27FC236}">
                      <a16:creationId xmlns:a16="http://schemas.microsoft.com/office/drawing/2014/main" id="{FDB439E7-137D-4070-A3F7-9BFB38026EE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41" y="3606"/>
                  <a:ext cx="58" cy="54"/>
                </a:xfrm>
                <a:custGeom>
                  <a:avLst/>
                  <a:gdLst>
                    <a:gd name="T0" fmla="*/ 52 w 173"/>
                    <a:gd name="T1" fmla="*/ 54 h 161"/>
                    <a:gd name="T2" fmla="*/ 58 w 173"/>
                    <a:gd name="T3" fmla="*/ 35 h 161"/>
                    <a:gd name="T4" fmla="*/ 39 w 173"/>
                    <a:gd name="T5" fmla="*/ 16 h 161"/>
                    <a:gd name="T6" fmla="*/ 37 w 173"/>
                    <a:gd name="T7" fmla="*/ 0 h 161"/>
                    <a:gd name="T8" fmla="*/ 0 w 173"/>
                    <a:gd name="T9" fmla="*/ 0 h 161"/>
                    <a:gd name="T10" fmla="*/ 0 w 173"/>
                    <a:gd name="T11" fmla="*/ 19 h 161"/>
                    <a:gd name="T12" fmla="*/ 18 w 173"/>
                    <a:gd name="T13" fmla="*/ 35 h 161"/>
                    <a:gd name="T14" fmla="*/ 52 w 173"/>
                    <a:gd name="T15" fmla="*/ 54 h 161"/>
                    <a:gd name="T16" fmla="*/ 52 w 173"/>
                    <a:gd name="T17" fmla="*/ 54 h 1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73" h="161">
                      <a:moveTo>
                        <a:pt x="155" y="161"/>
                      </a:moveTo>
                      <a:lnTo>
                        <a:pt x="173" y="104"/>
                      </a:lnTo>
                      <a:lnTo>
                        <a:pt x="116" y="47"/>
                      </a:lnTo>
                      <a:lnTo>
                        <a:pt x="110" y="0"/>
                      </a:lnTo>
                      <a:lnTo>
                        <a:pt x="0" y="0"/>
                      </a:lnTo>
                      <a:lnTo>
                        <a:pt x="0" y="56"/>
                      </a:lnTo>
                      <a:lnTo>
                        <a:pt x="54" y="104"/>
                      </a:lnTo>
                      <a:lnTo>
                        <a:pt x="155" y="161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5" name="Freeform 54">
                  <a:extLst>
                    <a:ext uri="{FF2B5EF4-FFF2-40B4-BE49-F238E27FC236}">
                      <a16:creationId xmlns:a16="http://schemas.microsoft.com/office/drawing/2014/main" id="{96CC8753-BDDA-4ECC-A7FF-D8DCADBACD6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85" y="3537"/>
                  <a:ext cx="135" cy="46"/>
                </a:xfrm>
                <a:custGeom>
                  <a:avLst/>
                  <a:gdLst>
                    <a:gd name="T0" fmla="*/ 135 w 407"/>
                    <a:gd name="T1" fmla="*/ 19 h 139"/>
                    <a:gd name="T2" fmla="*/ 122 w 407"/>
                    <a:gd name="T3" fmla="*/ 7 h 139"/>
                    <a:gd name="T4" fmla="*/ 89 w 407"/>
                    <a:gd name="T5" fmla="*/ 19 h 139"/>
                    <a:gd name="T6" fmla="*/ 10 w 407"/>
                    <a:gd name="T7" fmla="*/ 0 h 139"/>
                    <a:gd name="T8" fmla="*/ 0 w 407"/>
                    <a:gd name="T9" fmla="*/ 23 h 139"/>
                    <a:gd name="T10" fmla="*/ 0 w 407"/>
                    <a:gd name="T11" fmla="*/ 34 h 139"/>
                    <a:gd name="T12" fmla="*/ 37 w 407"/>
                    <a:gd name="T13" fmla="*/ 38 h 139"/>
                    <a:gd name="T14" fmla="*/ 56 w 407"/>
                    <a:gd name="T15" fmla="*/ 29 h 139"/>
                    <a:gd name="T16" fmla="*/ 74 w 407"/>
                    <a:gd name="T17" fmla="*/ 46 h 139"/>
                    <a:gd name="T18" fmla="*/ 104 w 407"/>
                    <a:gd name="T19" fmla="*/ 46 h 139"/>
                    <a:gd name="T20" fmla="*/ 122 w 407"/>
                    <a:gd name="T21" fmla="*/ 34 h 139"/>
                    <a:gd name="T22" fmla="*/ 135 w 407"/>
                    <a:gd name="T23" fmla="*/ 19 h 139"/>
                    <a:gd name="T24" fmla="*/ 135 w 407"/>
                    <a:gd name="T25" fmla="*/ 19 h 13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407" h="139">
                      <a:moveTo>
                        <a:pt x="407" y="57"/>
                      </a:moveTo>
                      <a:lnTo>
                        <a:pt x="369" y="22"/>
                      </a:lnTo>
                      <a:lnTo>
                        <a:pt x="269" y="57"/>
                      </a:lnTo>
                      <a:lnTo>
                        <a:pt x="29" y="0"/>
                      </a:lnTo>
                      <a:lnTo>
                        <a:pt x="0" y="70"/>
                      </a:lnTo>
                      <a:lnTo>
                        <a:pt x="0" y="104"/>
                      </a:lnTo>
                      <a:lnTo>
                        <a:pt x="113" y="115"/>
                      </a:lnTo>
                      <a:lnTo>
                        <a:pt x="169" y="87"/>
                      </a:lnTo>
                      <a:lnTo>
                        <a:pt x="223" y="139"/>
                      </a:lnTo>
                      <a:lnTo>
                        <a:pt x="314" y="139"/>
                      </a:lnTo>
                      <a:lnTo>
                        <a:pt x="369" y="104"/>
                      </a:lnTo>
                      <a:lnTo>
                        <a:pt x="407" y="57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6" name="Freeform 55">
                  <a:extLst>
                    <a:ext uri="{FF2B5EF4-FFF2-40B4-BE49-F238E27FC236}">
                      <a16:creationId xmlns:a16="http://schemas.microsoft.com/office/drawing/2014/main" id="{13BB0E51-02A0-49DF-B19A-22F68ABBAA4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61" y="3429"/>
                  <a:ext cx="144" cy="108"/>
                </a:xfrm>
                <a:custGeom>
                  <a:avLst/>
                  <a:gdLst>
                    <a:gd name="T0" fmla="*/ 141 w 433"/>
                    <a:gd name="T1" fmla="*/ 96 h 323"/>
                    <a:gd name="T2" fmla="*/ 144 w 433"/>
                    <a:gd name="T3" fmla="*/ 84 h 323"/>
                    <a:gd name="T4" fmla="*/ 129 w 433"/>
                    <a:gd name="T5" fmla="*/ 81 h 323"/>
                    <a:gd name="T6" fmla="*/ 129 w 433"/>
                    <a:gd name="T7" fmla="*/ 54 h 323"/>
                    <a:gd name="T8" fmla="*/ 113 w 433"/>
                    <a:gd name="T9" fmla="*/ 65 h 323"/>
                    <a:gd name="T10" fmla="*/ 98 w 433"/>
                    <a:gd name="T11" fmla="*/ 38 h 323"/>
                    <a:gd name="T12" fmla="*/ 110 w 433"/>
                    <a:gd name="T13" fmla="*/ 38 h 323"/>
                    <a:gd name="T14" fmla="*/ 80 w 433"/>
                    <a:gd name="T15" fmla="*/ 0 h 323"/>
                    <a:gd name="T16" fmla="*/ 61 w 433"/>
                    <a:gd name="T17" fmla="*/ 0 h 323"/>
                    <a:gd name="T18" fmla="*/ 43 w 433"/>
                    <a:gd name="T19" fmla="*/ 31 h 323"/>
                    <a:gd name="T20" fmla="*/ 0 w 433"/>
                    <a:gd name="T21" fmla="*/ 31 h 323"/>
                    <a:gd name="T22" fmla="*/ 16 w 433"/>
                    <a:gd name="T23" fmla="*/ 69 h 323"/>
                    <a:gd name="T24" fmla="*/ 33 w 433"/>
                    <a:gd name="T25" fmla="*/ 100 h 323"/>
                    <a:gd name="T26" fmla="*/ 73 w 433"/>
                    <a:gd name="T27" fmla="*/ 100 h 323"/>
                    <a:gd name="T28" fmla="*/ 65 w 433"/>
                    <a:gd name="T29" fmla="*/ 84 h 323"/>
                    <a:gd name="T30" fmla="*/ 86 w 433"/>
                    <a:gd name="T31" fmla="*/ 84 h 323"/>
                    <a:gd name="T32" fmla="*/ 95 w 433"/>
                    <a:gd name="T33" fmla="*/ 89 h 323"/>
                    <a:gd name="T34" fmla="*/ 107 w 433"/>
                    <a:gd name="T35" fmla="*/ 108 h 323"/>
                    <a:gd name="T36" fmla="*/ 141 w 433"/>
                    <a:gd name="T37" fmla="*/ 96 h 323"/>
                    <a:gd name="T38" fmla="*/ 141 w 433"/>
                    <a:gd name="T39" fmla="*/ 96 h 32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433" h="323">
                      <a:moveTo>
                        <a:pt x="425" y="287"/>
                      </a:moveTo>
                      <a:lnTo>
                        <a:pt x="433" y="252"/>
                      </a:lnTo>
                      <a:lnTo>
                        <a:pt x="388" y="241"/>
                      </a:lnTo>
                      <a:lnTo>
                        <a:pt x="388" y="161"/>
                      </a:lnTo>
                      <a:lnTo>
                        <a:pt x="341" y="195"/>
                      </a:lnTo>
                      <a:lnTo>
                        <a:pt x="296" y="115"/>
                      </a:lnTo>
                      <a:lnTo>
                        <a:pt x="332" y="115"/>
                      </a:lnTo>
                      <a:lnTo>
                        <a:pt x="240" y="0"/>
                      </a:lnTo>
                      <a:lnTo>
                        <a:pt x="184" y="0"/>
                      </a:lnTo>
                      <a:lnTo>
                        <a:pt x="128" y="92"/>
                      </a:lnTo>
                      <a:lnTo>
                        <a:pt x="0" y="92"/>
                      </a:lnTo>
                      <a:lnTo>
                        <a:pt x="48" y="207"/>
                      </a:lnTo>
                      <a:lnTo>
                        <a:pt x="100" y="299"/>
                      </a:lnTo>
                      <a:lnTo>
                        <a:pt x="221" y="299"/>
                      </a:lnTo>
                      <a:lnTo>
                        <a:pt x="195" y="252"/>
                      </a:lnTo>
                      <a:lnTo>
                        <a:pt x="258" y="252"/>
                      </a:lnTo>
                      <a:lnTo>
                        <a:pt x="286" y="266"/>
                      </a:lnTo>
                      <a:lnTo>
                        <a:pt x="321" y="323"/>
                      </a:lnTo>
                      <a:lnTo>
                        <a:pt x="425" y="287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7" name="Freeform 56">
                  <a:extLst>
                    <a:ext uri="{FF2B5EF4-FFF2-40B4-BE49-F238E27FC236}">
                      <a16:creationId xmlns:a16="http://schemas.microsoft.com/office/drawing/2014/main" id="{814D68D3-E606-4060-B7DA-A82C307FFCE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918" y="3316"/>
                  <a:ext cx="117" cy="96"/>
                </a:xfrm>
                <a:custGeom>
                  <a:avLst/>
                  <a:gdLst>
                    <a:gd name="T0" fmla="*/ 80 w 350"/>
                    <a:gd name="T1" fmla="*/ 85 h 288"/>
                    <a:gd name="T2" fmla="*/ 90 w 350"/>
                    <a:gd name="T3" fmla="*/ 74 h 288"/>
                    <a:gd name="T4" fmla="*/ 95 w 350"/>
                    <a:gd name="T5" fmla="*/ 66 h 288"/>
                    <a:gd name="T6" fmla="*/ 95 w 350"/>
                    <a:gd name="T7" fmla="*/ 46 h 288"/>
                    <a:gd name="T8" fmla="*/ 117 w 350"/>
                    <a:gd name="T9" fmla="*/ 34 h 288"/>
                    <a:gd name="T10" fmla="*/ 117 w 350"/>
                    <a:gd name="T11" fmla="*/ 16 h 288"/>
                    <a:gd name="T12" fmla="*/ 105 w 350"/>
                    <a:gd name="T13" fmla="*/ 0 h 288"/>
                    <a:gd name="T14" fmla="*/ 71 w 350"/>
                    <a:gd name="T15" fmla="*/ 0 h 288"/>
                    <a:gd name="T16" fmla="*/ 55 w 350"/>
                    <a:gd name="T17" fmla="*/ 3 h 288"/>
                    <a:gd name="T18" fmla="*/ 16 w 350"/>
                    <a:gd name="T19" fmla="*/ 20 h 288"/>
                    <a:gd name="T20" fmla="*/ 0 w 350"/>
                    <a:gd name="T21" fmla="*/ 42 h 288"/>
                    <a:gd name="T22" fmla="*/ 0 w 350"/>
                    <a:gd name="T23" fmla="*/ 69 h 288"/>
                    <a:gd name="T24" fmla="*/ 40 w 350"/>
                    <a:gd name="T25" fmla="*/ 74 h 288"/>
                    <a:gd name="T26" fmla="*/ 52 w 350"/>
                    <a:gd name="T27" fmla="*/ 96 h 288"/>
                    <a:gd name="T28" fmla="*/ 71 w 350"/>
                    <a:gd name="T29" fmla="*/ 88 h 288"/>
                    <a:gd name="T30" fmla="*/ 80 w 350"/>
                    <a:gd name="T31" fmla="*/ 85 h 288"/>
                    <a:gd name="T32" fmla="*/ 80 w 350"/>
                    <a:gd name="T33" fmla="*/ 85 h 28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350" h="288">
                      <a:moveTo>
                        <a:pt x="240" y="254"/>
                      </a:moveTo>
                      <a:lnTo>
                        <a:pt x="269" y="222"/>
                      </a:lnTo>
                      <a:lnTo>
                        <a:pt x="285" y="197"/>
                      </a:lnTo>
                      <a:lnTo>
                        <a:pt x="285" y="139"/>
                      </a:lnTo>
                      <a:lnTo>
                        <a:pt x="350" y="103"/>
                      </a:lnTo>
                      <a:lnTo>
                        <a:pt x="350" y="47"/>
                      </a:lnTo>
                      <a:lnTo>
                        <a:pt x="313" y="0"/>
                      </a:lnTo>
                      <a:lnTo>
                        <a:pt x="212" y="0"/>
                      </a:lnTo>
                      <a:lnTo>
                        <a:pt x="164" y="10"/>
                      </a:lnTo>
                      <a:lnTo>
                        <a:pt x="47" y="59"/>
                      </a:lnTo>
                      <a:lnTo>
                        <a:pt x="0" y="127"/>
                      </a:lnTo>
                      <a:lnTo>
                        <a:pt x="0" y="208"/>
                      </a:lnTo>
                      <a:lnTo>
                        <a:pt x="121" y="222"/>
                      </a:lnTo>
                      <a:lnTo>
                        <a:pt x="156" y="288"/>
                      </a:lnTo>
                      <a:lnTo>
                        <a:pt x="212" y="264"/>
                      </a:lnTo>
                      <a:lnTo>
                        <a:pt x="240" y="254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8" name="Freeform 57">
                  <a:extLst>
                    <a:ext uri="{FF2B5EF4-FFF2-40B4-BE49-F238E27FC236}">
                      <a16:creationId xmlns:a16="http://schemas.microsoft.com/office/drawing/2014/main" id="{557CF5BB-D788-4DFD-8ABB-D67E2E1A33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17" y="3373"/>
                  <a:ext cx="51" cy="58"/>
                </a:xfrm>
                <a:custGeom>
                  <a:avLst/>
                  <a:gdLst>
                    <a:gd name="T0" fmla="*/ 6 w 154"/>
                    <a:gd name="T1" fmla="*/ 58 h 174"/>
                    <a:gd name="T2" fmla="*/ 14 w 154"/>
                    <a:gd name="T3" fmla="*/ 35 h 174"/>
                    <a:gd name="T4" fmla="*/ 39 w 154"/>
                    <a:gd name="T5" fmla="*/ 23 h 174"/>
                    <a:gd name="T6" fmla="*/ 39 w 154"/>
                    <a:gd name="T7" fmla="*/ 16 h 174"/>
                    <a:gd name="T8" fmla="*/ 51 w 154"/>
                    <a:gd name="T9" fmla="*/ 0 h 174"/>
                    <a:gd name="T10" fmla="*/ 33 w 154"/>
                    <a:gd name="T11" fmla="*/ 0 h 174"/>
                    <a:gd name="T12" fmla="*/ 21 w 154"/>
                    <a:gd name="T13" fmla="*/ 20 h 174"/>
                    <a:gd name="T14" fmla="*/ 2 w 154"/>
                    <a:gd name="T15" fmla="*/ 23 h 174"/>
                    <a:gd name="T16" fmla="*/ 0 w 154"/>
                    <a:gd name="T17" fmla="*/ 58 h 174"/>
                    <a:gd name="T18" fmla="*/ 6 w 154"/>
                    <a:gd name="T19" fmla="*/ 58 h 174"/>
                    <a:gd name="T20" fmla="*/ 6 w 154"/>
                    <a:gd name="T21" fmla="*/ 58 h 17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54" h="174">
                      <a:moveTo>
                        <a:pt x="17" y="174"/>
                      </a:moveTo>
                      <a:lnTo>
                        <a:pt x="42" y="104"/>
                      </a:lnTo>
                      <a:lnTo>
                        <a:pt x="117" y="69"/>
                      </a:lnTo>
                      <a:lnTo>
                        <a:pt x="117" y="49"/>
                      </a:lnTo>
                      <a:lnTo>
                        <a:pt x="154" y="0"/>
                      </a:lnTo>
                      <a:lnTo>
                        <a:pt x="99" y="0"/>
                      </a:lnTo>
                      <a:lnTo>
                        <a:pt x="63" y="59"/>
                      </a:lnTo>
                      <a:lnTo>
                        <a:pt x="7" y="69"/>
                      </a:lnTo>
                      <a:lnTo>
                        <a:pt x="0" y="174"/>
                      </a:lnTo>
                      <a:lnTo>
                        <a:pt x="17" y="174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69" name="Group 91">
                <a:extLst>
                  <a:ext uri="{FF2B5EF4-FFF2-40B4-BE49-F238E27FC236}">
                    <a16:creationId xmlns:a16="http://schemas.microsoft.com/office/drawing/2014/main" id="{B3E25070-7273-4F33-B921-757AFEF9DED4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 rot="19134295">
                <a:off x="855559" y="2709419"/>
                <a:ext cx="1837493" cy="1814128"/>
                <a:chOff x="1051" y="888"/>
                <a:chExt cx="1026" cy="1012"/>
              </a:xfrm>
              <a:grpFill/>
            </p:grpSpPr>
            <p:sp>
              <p:nvSpPr>
                <p:cNvPr id="70" name="Freeform 92">
                  <a:extLst>
                    <a:ext uri="{FF2B5EF4-FFF2-40B4-BE49-F238E27FC236}">
                      <a16:creationId xmlns:a16="http://schemas.microsoft.com/office/drawing/2014/main" id="{6AF0A6A2-D2B0-44A9-88DB-65D89248929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212" y="888"/>
                  <a:ext cx="865" cy="1012"/>
                </a:xfrm>
                <a:custGeom>
                  <a:avLst/>
                  <a:gdLst>
                    <a:gd name="T0" fmla="*/ 378 w 515"/>
                    <a:gd name="T1" fmla="*/ 457 h 602"/>
                    <a:gd name="T2" fmla="*/ 406 w 515"/>
                    <a:gd name="T3" fmla="*/ 440 h 602"/>
                    <a:gd name="T4" fmla="*/ 291 w 515"/>
                    <a:gd name="T5" fmla="*/ 459 h 602"/>
                    <a:gd name="T6" fmla="*/ 227 w 515"/>
                    <a:gd name="T7" fmla="*/ 482 h 602"/>
                    <a:gd name="T8" fmla="*/ 104 w 515"/>
                    <a:gd name="T9" fmla="*/ 477 h 602"/>
                    <a:gd name="T10" fmla="*/ 37 w 515"/>
                    <a:gd name="T11" fmla="*/ 437 h 602"/>
                    <a:gd name="T12" fmla="*/ 37 w 515"/>
                    <a:gd name="T13" fmla="*/ 415 h 602"/>
                    <a:gd name="T14" fmla="*/ 116 w 515"/>
                    <a:gd name="T15" fmla="*/ 439 h 602"/>
                    <a:gd name="T16" fmla="*/ 217 w 515"/>
                    <a:gd name="T17" fmla="*/ 419 h 602"/>
                    <a:gd name="T18" fmla="*/ 198 w 515"/>
                    <a:gd name="T19" fmla="*/ 395 h 602"/>
                    <a:gd name="T20" fmla="*/ 178 w 515"/>
                    <a:gd name="T21" fmla="*/ 331 h 602"/>
                    <a:gd name="T22" fmla="*/ 217 w 515"/>
                    <a:gd name="T23" fmla="*/ 282 h 602"/>
                    <a:gd name="T24" fmla="*/ 244 w 515"/>
                    <a:gd name="T25" fmla="*/ 237 h 602"/>
                    <a:gd name="T26" fmla="*/ 249 w 515"/>
                    <a:gd name="T27" fmla="*/ 203 h 602"/>
                    <a:gd name="T28" fmla="*/ 312 w 515"/>
                    <a:gd name="T29" fmla="*/ 183 h 602"/>
                    <a:gd name="T30" fmla="*/ 375 w 515"/>
                    <a:gd name="T31" fmla="*/ 192 h 602"/>
                    <a:gd name="T32" fmla="*/ 440 w 515"/>
                    <a:gd name="T33" fmla="*/ 182 h 602"/>
                    <a:gd name="T34" fmla="*/ 422 w 515"/>
                    <a:gd name="T35" fmla="*/ 153 h 602"/>
                    <a:gd name="T36" fmla="*/ 420 w 515"/>
                    <a:gd name="T37" fmla="*/ 91 h 602"/>
                    <a:gd name="T38" fmla="*/ 477 w 515"/>
                    <a:gd name="T39" fmla="*/ 76 h 602"/>
                    <a:gd name="T40" fmla="*/ 494 w 515"/>
                    <a:gd name="T41" fmla="*/ 123 h 602"/>
                    <a:gd name="T42" fmla="*/ 514 w 515"/>
                    <a:gd name="T43" fmla="*/ 104 h 602"/>
                    <a:gd name="T44" fmla="*/ 539 w 515"/>
                    <a:gd name="T45" fmla="*/ 50 h 602"/>
                    <a:gd name="T46" fmla="*/ 588 w 515"/>
                    <a:gd name="T47" fmla="*/ 10 h 602"/>
                    <a:gd name="T48" fmla="*/ 687 w 515"/>
                    <a:gd name="T49" fmla="*/ 17 h 602"/>
                    <a:gd name="T50" fmla="*/ 731 w 515"/>
                    <a:gd name="T51" fmla="*/ 34 h 602"/>
                    <a:gd name="T52" fmla="*/ 756 w 515"/>
                    <a:gd name="T53" fmla="*/ 79 h 602"/>
                    <a:gd name="T54" fmla="*/ 788 w 515"/>
                    <a:gd name="T55" fmla="*/ 129 h 602"/>
                    <a:gd name="T56" fmla="*/ 820 w 515"/>
                    <a:gd name="T57" fmla="*/ 188 h 602"/>
                    <a:gd name="T58" fmla="*/ 537 w 515"/>
                    <a:gd name="T59" fmla="*/ 614 h 602"/>
                    <a:gd name="T60" fmla="*/ 568 w 515"/>
                    <a:gd name="T61" fmla="*/ 654 h 602"/>
                    <a:gd name="T62" fmla="*/ 574 w 515"/>
                    <a:gd name="T63" fmla="*/ 719 h 602"/>
                    <a:gd name="T64" fmla="*/ 628 w 515"/>
                    <a:gd name="T65" fmla="*/ 714 h 602"/>
                    <a:gd name="T66" fmla="*/ 642 w 515"/>
                    <a:gd name="T67" fmla="*/ 773 h 602"/>
                    <a:gd name="T68" fmla="*/ 638 w 515"/>
                    <a:gd name="T69" fmla="*/ 859 h 602"/>
                    <a:gd name="T70" fmla="*/ 663 w 515"/>
                    <a:gd name="T71" fmla="*/ 960 h 602"/>
                    <a:gd name="T72" fmla="*/ 630 w 515"/>
                    <a:gd name="T73" fmla="*/ 1002 h 602"/>
                    <a:gd name="T74" fmla="*/ 618 w 515"/>
                    <a:gd name="T75" fmla="*/ 999 h 602"/>
                    <a:gd name="T76" fmla="*/ 630 w 515"/>
                    <a:gd name="T77" fmla="*/ 970 h 602"/>
                    <a:gd name="T78" fmla="*/ 600 w 515"/>
                    <a:gd name="T79" fmla="*/ 950 h 602"/>
                    <a:gd name="T80" fmla="*/ 616 w 515"/>
                    <a:gd name="T81" fmla="*/ 921 h 602"/>
                    <a:gd name="T82" fmla="*/ 616 w 515"/>
                    <a:gd name="T83" fmla="*/ 883 h 602"/>
                    <a:gd name="T84" fmla="*/ 620 w 515"/>
                    <a:gd name="T85" fmla="*/ 852 h 602"/>
                    <a:gd name="T86" fmla="*/ 621 w 515"/>
                    <a:gd name="T87" fmla="*/ 805 h 602"/>
                    <a:gd name="T88" fmla="*/ 623 w 515"/>
                    <a:gd name="T89" fmla="*/ 758 h 602"/>
                    <a:gd name="T90" fmla="*/ 595 w 515"/>
                    <a:gd name="T91" fmla="*/ 782 h 602"/>
                    <a:gd name="T92" fmla="*/ 579 w 515"/>
                    <a:gd name="T93" fmla="*/ 773 h 602"/>
                    <a:gd name="T94" fmla="*/ 553 w 515"/>
                    <a:gd name="T95" fmla="*/ 736 h 602"/>
                    <a:gd name="T96" fmla="*/ 536 w 515"/>
                    <a:gd name="T97" fmla="*/ 686 h 602"/>
                    <a:gd name="T98" fmla="*/ 531 w 515"/>
                    <a:gd name="T99" fmla="*/ 656 h 602"/>
                    <a:gd name="T100" fmla="*/ 509 w 515"/>
                    <a:gd name="T101" fmla="*/ 624 h 602"/>
                    <a:gd name="T102" fmla="*/ 472 w 515"/>
                    <a:gd name="T103" fmla="*/ 592 h 602"/>
                    <a:gd name="T104" fmla="*/ 469 w 515"/>
                    <a:gd name="T105" fmla="*/ 530 h 602"/>
                    <a:gd name="T106" fmla="*/ 413 w 515"/>
                    <a:gd name="T107" fmla="*/ 506 h 60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515" h="602">
                      <a:moveTo>
                        <a:pt x="212" y="295"/>
                      </a:moveTo>
                      <a:cubicBezTo>
                        <a:pt x="212" y="295"/>
                        <a:pt x="212" y="295"/>
                        <a:pt x="208" y="295"/>
                      </a:cubicBezTo>
                      <a:cubicBezTo>
                        <a:pt x="204" y="295"/>
                        <a:pt x="201" y="295"/>
                        <a:pt x="195" y="290"/>
                      </a:cubicBezTo>
                      <a:cubicBezTo>
                        <a:pt x="195" y="290"/>
                        <a:pt x="201" y="288"/>
                        <a:pt x="206" y="288"/>
                      </a:cubicBezTo>
                      <a:cubicBezTo>
                        <a:pt x="211" y="288"/>
                        <a:pt x="211" y="288"/>
                        <a:pt x="211" y="278"/>
                      </a:cubicBezTo>
                      <a:cubicBezTo>
                        <a:pt x="211" y="278"/>
                        <a:pt x="216" y="272"/>
                        <a:pt x="225" y="272"/>
                      </a:cubicBezTo>
                      <a:cubicBezTo>
                        <a:pt x="234" y="272"/>
                        <a:pt x="234" y="272"/>
                        <a:pt x="234" y="272"/>
                      </a:cubicBezTo>
                      <a:cubicBezTo>
                        <a:pt x="243" y="273"/>
                        <a:pt x="243" y="273"/>
                        <a:pt x="243" y="273"/>
                      </a:cubicBezTo>
                      <a:cubicBezTo>
                        <a:pt x="243" y="273"/>
                        <a:pt x="248" y="273"/>
                        <a:pt x="258" y="273"/>
                      </a:cubicBezTo>
                      <a:cubicBezTo>
                        <a:pt x="267" y="273"/>
                        <a:pt x="262" y="269"/>
                        <a:pt x="262" y="269"/>
                      </a:cubicBezTo>
                      <a:cubicBezTo>
                        <a:pt x="262" y="269"/>
                        <a:pt x="254" y="265"/>
                        <a:pt x="251" y="262"/>
                      </a:cubicBezTo>
                      <a:cubicBezTo>
                        <a:pt x="247" y="258"/>
                        <a:pt x="242" y="262"/>
                        <a:pt x="242" y="262"/>
                      </a:cubicBezTo>
                      <a:cubicBezTo>
                        <a:pt x="230" y="262"/>
                        <a:pt x="230" y="262"/>
                        <a:pt x="230" y="262"/>
                      </a:cubicBezTo>
                      <a:cubicBezTo>
                        <a:pt x="224" y="262"/>
                        <a:pt x="224" y="262"/>
                        <a:pt x="224" y="262"/>
                      </a:cubicBezTo>
                      <a:cubicBezTo>
                        <a:pt x="214" y="265"/>
                        <a:pt x="214" y="265"/>
                        <a:pt x="214" y="265"/>
                      </a:cubicBezTo>
                      <a:cubicBezTo>
                        <a:pt x="207" y="267"/>
                        <a:pt x="207" y="267"/>
                        <a:pt x="207" y="267"/>
                      </a:cubicBezTo>
                      <a:cubicBezTo>
                        <a:pt x="195" y="268"/>
                        <a:pt x="195" y="268"/>
                        <a:pt x="195" y="268"/>
                      </a:cubicBezTo>
                      <a:cubicBezTo>
                        <a:pt x="195" y="268"/>
                        <a:pt x="177" y="269"/>
                        <a:pt x="173" y="273"/>
                      </a:cubicBezTo>
                      <a:cubicBezTo>
                        <a:pt x="174" y="279"/>
                        <a:pt x="174" y="279"/>
                        <a:pt x="174" y="279"/>
                      </a:cubicBezTo>
                      <a:cubicBezTo>
                        <a:pt x="171" y="288"/>
                        <a:pt x="171" y="288"/>
                        <a:pt x="171" y="288"/>
                      </a:cubicBezTo>
                      <a:cubicBezTo>
                        <a:pt x="171" y="288"/>
                        <a:pt x="171" y="288"/>
                        <a:pt x="166" y="288"/>
                      </a:cubicBezTo>
                      <a:cubicBezTo>
                        <a:pt x="160" y="288"/>
                        <a:pt x="158" y="289"/>
                        <a:pt x="158" y="289"/>
                      </a:cubicBezTo>
                      <a:cubicBezTo>
                        <a:pt x="158" y="289"/>
                        <a:pt x="151" y="288"/>
                        <a:pt x="144" y="288"/>
                      </a:cubicBezTo>
                      <a:cubicBezTo>
                        <a:pt x="136" y="288"/>
                        <a:pt x="135" y="287"/>
                        <a:pt x="135" y="287"/>
                      </a:cubicBezTo>
                      <a:cubicBezTo>
                        <a:pt x="125" y="287"/>
                        <a:pt x="125" y="287"/>
                        <a:pt x="125" y="287"/>
                      </a:cubicBezTo>
                      <a:cubicBezTo>
                        <a:pt x="125" y="287"/>
                        <a:pt x="117" y="286"/>
                        <a:pt x="106" y="286"/>
                      </a:cubicBezTo>
                      <a:cubicBezTo>
                        <a:pt x="96" y="286"/>
                        <a:pt x="97" y="284"/>
                        <a:pt x="92" y="284"/>
                      </a:cubicBezTo>
                      <a:cubicBezTo>
                        <a:pt x="87" y="284"/>
                        <a:pt x="85" y="284"/>
                        <a:pt x="85" y="284"/>
                      </a:cubicBezTo>
                      <a:cubicBezTo>
                        <a:pt x="85" y="284"/>
                        <a:pt x="85" y="284"/>
                        <a:pt x="72" y="284"/>
                      </a:cubicBezTo>
                      <a:cubicBezTo>
                        <a:pt x="59" y="284"/>
                        <a:pt x="72" y="284"/>
                        <a:pt x="62" y="284"/>
                      </a:cubicBezTo>
                      <a:cubicBezTo>
                        <a:pt x="51" y="284"/>
                        <a:pt x="52" y="284"/>
                        <a:pt x="52" y="284"/>
                      </a:cubicBezTo>
                      <a:cubicBezTo>
                        <a:pt x="48" y="277"/>
                        <a:pt x="48" y="277"/>
                        <a:pt x="48" y="277"/>
                      </a:cubicBezTo>
                      <a:cubicBezTo>
                        <a:pt x="43" y="272"/>
                        <a:pt x="43" y="272"/>
                        <a:pt x="43" y="272"/>
                      </a:cubicBezTo>
                      <a:cubicBezTo>
                        <a:pt x="27" y="269"/>
                        <a:pt x="27" y="269"/>
                        <a:pt x="27" y="269"/>
                      </a:cubicBezTo>
                      <a:cubicBezTo>
                        <a:pt x="23" y="266"/>
                        <a:pt x="23" y="266"/>
                        <a:pt x="23" y="266"/>
                      </a:cubicBezTo>
                      <a:cubicBezTo>
                        <a:pt x="22" y="260"/>
                        <a:pt x="22" y="260"/>
                        <a:pt x="22" y="260"/>
                      </a:cubicBezTo>
                      <a:cubicBezTo>
                        <a:pt x="22" y="260"/>
                        <a:pt x="22" y="260"/>
                        <a:pt x="20" y="257"/>
                      </a:cubicBezTo>
                      <a:cubicBezTo>
                        <a:pt x="17" y="254"/>
                        <a:pt x="20" y="257"/>
                        <a:pt x="10" y="257"/>
                      </a:cubicBezTo>
                      <a:cubicBezTo>
                        <a:pt x="0" y="257"/>
                        <a:pt x="2" y="257"/>
                        <a:pt x="2" y="257"/>
                      </a:cubicBezTo>
                      <a:cubicBezTo>
                        <a:pt x="8" y="247"/>
                        <a:pt x="8" y="247"/>
                        <a:pt x="8" y="247"/>
                      </a:cubicBezTo>
                      <a:cubicBezTo>
                        <a:pt x="17" y="247"/>
                        <a:pt x="17" y="247"/>
                        <a:pt x="17" y="247"/>
                      </a:cubicBezTo>
                      <a:cubicBezTo>
                        <a:pt x="22" y="247"/>
                        <a:pt x="22" y="247"/>
                        <a:pt x="22" y="247"/>
                      </a:cubicBezTo>
                      <a:cubicBezTo>
                        <a:pt x="22" y="247"/>
                        <a:pt x="29" y="246"/>
                        <a:pt x="33" y="250"/>
                      </a:cubicBezTo>
                      <a:cubicBezTo>
                        <a:pt x="41" y="255"/>
                        <a:pt x="41" y="255"/>
                        <a:pt x="41" y="255"/>
                      </a:cubicBezTo>
                      <a:cubicBezTo>
                        <a:pt x="41" y="255"/>
                        <a:pt x="41" y="255"/>
                        <a:pt x="41" y="263"/>
                      </a:cubicBezTo>
                      <a:cubicBezTo>
                        <a:pt x="52" y="266"/>
                        <a:pt x="52" y="266"/>
                        <a:pt x="52" y="266"/>
                      </a:cubicBezTo>
                      <a:cubicBezTo>
                        <a:pt x="62" y="257"/>
                        <a:pt x="62" y="257"/>
                        <a:pt x="62" y="257"/>
                      </a:cubicBezTo>
                      <a:cubicBezTo>
                        <a:pt x="69" y="261"/>
                        <a:pt x="69" y="261"/>
                        <a:pt x="69" y="261"/>
                      </a:cubicBezTo>
                      <a:cubicBezTo>
                        <a:pt x="69" y="261"/>
                        <a:pt x="74" y="266"/>
                        <a:pt x="81" y="266"/>
                      </a:cubicBezTo>
                      <a:cubicBezTo>
                        <a:pt x="87" y="266"/>
                        <a:pt x="85" y="266"/>
                        <a:pt x="90" y="266"/>
                      </a:cubicBezTo>
                      <a:cubicBezTo>
                        <a:pt x="95" y="266"/>
                        <a:pt x="99" y="266"/>
                        <a:pt x="103" y="266"/>
                      </a:cubicBezTo>
                      <a:cubicBezTo>
                        <a:pt x="106" y="266"/>
                        <a:pt x="107" y="266"/>
                        <a:pt x="114" y="259"/>
                      </a:cubicBezTo>
                      <a:cubicBezTo>
                        <a:pt x="121" y="252"/>
                        <a:pt x="117" y="253"/>
                        <a:pt x="117" y="253"/>
                      </a:cubicBezTo>
                      <a:cubicBezTo>
                        <a:pt x="129" y="249"/>
                        <a:pt x="129" y="249"/>
                        <a:pt x="129" y="249"/>
                      </a:cubicBezTo>
                      <a:cubicBezTo>
                        <a:pt x="141" y="249"/>
                        <a:pt x="141" y="249"/>
                        <a:pt x="141" y="249"/>
                      </a:cubicBezTo>
                      <a:cubicBezTo>
                        <a:pt x="137" y="245"/>
                        <a:pt x="137" y="245"/>
                        <a:pt x="137" y="245"/>
                      </a:cubicBezTo>
                      <a:cubicBezTo>
                        <a:pt x="133" y="241"/>
                        <a:pt x="133" y="241"/>
                        <a:pt x="133" y="241"/>
                      </a:cubicBezTo>
                      <a:cubicBezTo>
                        <a:pt x="128" y="237"/>
                        <a:pt x="128" y="237"/>
                        <a:pt x="128" y="237"/>
                      </a:cubicBezTo>
                      <a:cubicBezTo>
                        <a:pt x="125" y="232"/>
                        <a:pt x="125" y="232"/>
                        <a:pt x="125" y="232"/>
                      </a:cubicBezTo>
                      <a:cubicBezTo>
                        <a:pt x="118" y="235"/>
                        <a:pt x="118" y="235"/>
                        <a:pt x="118" y="235"/>
                      </a:cubicBezTo>
                      <a:cubicBezTo>
                        <a:pt x="118" y="227"/>
                        <a:pt x="118" y="227"/>
                        <a:pt x="118" y="227"/>
                      </a:cubicBezTo>
                      <a:cubicBezTo>
                        <a:pt x="125" y="224"/>
                        <a:pt x="125" y="224"/>
                        <a:pt x="125" y="224"/>
                      </a:cubicBezTo>
                      <a:cubicBezTo>
                        <a:pt x="125" y="216"/>
                        <a:pt x="125" y="216"/>
                        <a:pt x="125" y="216"/>
                      </a:cubicBezTo>
                      <a:cubicBezTo>
                        <a:pt x="116" y="210"/>
                        <a:pt x="116" y="210"/>
                        <a:pt x="116" y="210"/>
                      </a:cubicBezTo>
                      <a:cubicBezTo>
                        <a:pt x="102" y="202"/>
                        <a:pt x="102" y="202"/>
                        <a:pt x="102" y="202"/>
                      </a:cubicBezTo>
                      <a:cubicBezTo>
                        <a:pt x="106" y="197"/>
                        <a:pt x="106" y="197"/>
                        <a:pt x="106" y="197"/>
                      </a:cubicBezTo>
                      <a:cubicBezTo>
                        <a:pt x="116" y="187"/>
                        <a:pt x="116" y="187"/>
                        <a:pt x="116" y="187"/>
                      </a:cubicBezTo>
                      <a:cubicBezTo>
                        <a:pt x="116" y="187"/>
                        <a:pt x="121" y="187"/>
                        <a:pt x="125" y="187"/>
                      </a:cubicBezTo>
                      <a:cubicBezTo>
                        <a:pt x="128" y="187"/>
                        <a:pt x="128" y="180"/>
                        <a:pt x="128" y="180"/>
                      </a:cubicBezTo>
                      <a:cubicBezTo>
                        <a:pt x="140" y="168"/>
                        <a:pt x="140" y="168"/>
                        <a:pt x="140" y="168"/>
                      </a:cubicBezTo>
                      <a:cubicBezTo>
                        <a:pt x="134" y="168"/>
                        <a:pt x="134" y="168"/>
                        <a:pt x="134" y="168"/>
                      </a:cubicBezTo>
                      <a:cubicBezTo>
                        <a:pt x="129" y="168"/>
                        <a:pt x="129" y="168"/>
                        <a:pt x="129" y="168"/>
                      </a:cubicBezTo>
                      <a:cubicBezTo>
                        <a:pt x="125" y="168"/>
                        <a:pt x="125" y="168"/>
                        <a:pt x="125" y="168"/>
                      </a:cubicBezTo>
                      <a:cubicBezTo>
                        <a:pt x="121" y="156"/>
                        <a:pt x="121" y="156"/>
                        <a:pt x="121" y="156"/>
                      </a:cubicBezTo>
                      <a:cubicBezTo>
                        <a:pt x="125" y="149"/>
                        <a:pt x="125" y="149"/>
                        <a:pt x="125" y="149"/>
                      </a:cubicBezTo>
                      <a:cubicBezTo>
                        <a:pt x="129" y="138"/>
                        <a:pt x="129" y="138"/>
                        <a:pt x="129" y="138"/>
                      </a:cubicBezTo>
                      <a:cubicBezTo>
                        <a:pt x="140" y="137"/>
                        <a:pt x="140" y="137"/>
                        <a:pt x="140" y="137"/>
                      </a:cubicBezTo>
                      <a:cubicBezTo>
                        <a:pt x="145" y="141"/>
                        <a:pt x="145" y="141"/>
                        <a:pt x="145" y="141"/>
                      </a:cubicBezTo>
                      <a:cubicBezTo>
                        <a:pt x="145" y="141"/>
                        <a:pt x="145" y="141"/>
                        <a:pt x="145" y="149"/>
                      </a:cubicBezTo>
                      <a:cubicBezTo>
                        <a:pt x="148" y="146"/>
                        <a:pt x="148" y="146"/>
                        <a:pt x="148" y="146"/>
                      </a:cubicBezTo>
                      <a:cubicBezTo>
                        <a:pt x="148" y="138"/>
                        <a:pt x="148" y="138"/>
                        <a:pt x="148" y="138"/>
                      </a:cubicBezTo>
                      <a:cubicBezTo>
                        <a:pt x="148" y="129"/>
                        <a:pt x="148" y="129"/>
                        <a:pt x="148" y="129"/>
                      </a:cubicBezTo>
                      <a:cubicBezTo>
                        <a:pt x="155" y="125"/>
                        <a:pt x="155" y="125"/>
                        <a:pt x="155" y="125"/>
                      </a:cubicBezTo>
                      <a:cubicBezTo>
                        <a:pt x="148" y="121"/>
                        <a:pt x="148" y="121"/>
                        <a:pt x="148" y="121"/>
                      </a:cubicBezTo>
                      <a:cubicBezTo>
                        <a:pt x="148" y="117"/>
                        <a:pt x="148" y="117"/>
                        <a:pt x="148" y="117"/>
                      </a:cubicBezTo>
                      <a:cubicBezTo>
                        <a:pt x="148" y="113"/>
                        <a:pt x="148" y="113"/>
                        <a:pt x="148" y="113"/>
                      </a:cubicBezTo>
                      <a:cubicBezTo>
                        <a:pt x="156" y="109"/>
                        <a:pt x="156" y="109"/>
                        <a:pt x="156" y="109"/>
                      </a:cubicBezTo>
                      <a:cubicBezTo>
                        <a:pt x="156" y="109"/>
                        <a:pt x="161" y="109"/>
                        <a:pt x="168" y="109"/>
                      </a:cubicBezTo>
                      <a:cubicBezTo>
                        <a:pt x="174" y="109"/>
                        <a:pt x="175" y="109"/>
                        <a:pt x="175" y="109"/>
                      </a:cubicBezTo>
                      <a:cubicBezTo>
                        <a:pt x="186" y="109"/>
                        <a:pt x="186" y="109"/>
                        <a:pt x="186" y="109"/>
                      </a:cubicBezTo>
                      <a:cubicBezTo>
                        <a:pt x="190" y="105"/>
                        <a:pt x="190" y="105"/>
                        <a:pt x="190" y="105"/>
                      </a:cubicBezTo>
                      <a:cubicBezTo>
                        <a:pt x="197" y="105"/>
                        <a:pt x="197" y="105"/>
                        <a:pt x="197" y="105"/>
                      </a:cubicBezTo>
                      <a:cubicBezTo>
                        <a:pt x="202" y="105"/>
                        <a:pt x="202" y="105"/>
                        <a:pt x="202" y="105"/>
                      </a:cubicBezTo>
                      <a:cubicBezTo>
                        <a:pt x="202" y="105"/>
                        <a:pt x="209" y="107"/>
                        <a:pt x="213" y="107"/>
                      </a:cubicBezTo>
                      <a:cubicBezTo>
                        <a:pt x="216" y="107"/>
                        <a:pt x="213" y="107"/>
                        <a:pt x="213" y="114"/>
                      </a:cubicBezTo>
                      <a:cubicBezTo>
                        <a:pt x="213" y="114"/>
                        <a:pt x="216" y="114"/>
                        <a:pt x="223" y="114"/>
                      </a:cubicBezTo>
                      <a:cubicBezTo>
                        <a:pt x="229" y="114"/>
                        <a:pt x="228" y="119"/>
                        <a:pt x="228" y="119"/>
                      </a:cubicBezTo>
                      <a:cubicBezTo>
                        <a:pt x="232" y="125"/>
                        <a:pt x="232" y="125"/>
                        <a:pt x="232" y="125"/>
                      </a:cubicBezTo>
                      <a:cubicBezTo>
                        <a:pt x="237" y="125"/>
                        <a:pt x="237" y="125"/>
                        <a:pt x="237" y="125"/>
                      </a:cubicBezTo>
                      <a:cubicBezTo>
                        <a:pt x="245" y="125"/>
                        <a:pt x="245" y="125"/>
                        <a:pt x="245" y="125"/>
                      </a:cubicBezTo>
                      <a:cubicBezTo>
                        <a:pt x="258" y="112"/>
                        <a:pt x="258" y="112"/>
                        <a:pt x="258" y="112"/>
                      </a:cubicBezTo>
                      <a:cubicBezTo>
                        <a:pt x="262" y="108"/>
                        <a:pt x="262" y="108"/>
                        <a:pt x="262" y="108"/>
                      </a:cubicBezTo>
                      <a:cubicBezTo>
                        <a:pt x="265" y="111"/>
                        <a:pt x="265" y="111"/>
                        <a:pt x="265" y="111"/>
                      </a:cubicBezTo>
                      <a:cubicBezTo>
                        <a:pt x="271" y="105"/>
                        <a:pt x="271" y="105"/>
                        <a:pt x="271" y="105"/>
                      </a:cubicBezTo>
                      <a:cubicBezTo>
                        <a:pt x="265" y="102"/>
                        <a:pt x="265" y="102"/>
                        <a:pt x="265" y="102"/>
                      </a:cubicBezTo>
                      <a:cubicBezTo>
                        <a:pt x="258" y="95"/>
                        <a:pt x="258" y="95"/>
                        <a:pt x="258" y="95"/>
                      </a:cubicBezTo>
                      <a:cubicBezTo>
                        <a:pt x="251" y="95"/>
                        <a:pt x="251" y="95"/>
                        <a:pt x="251" y="95"/>
                      </a:cubicBezTo>
                      <a:cubicBezTo>
                        <a:pt x="251" y="91"/>
                        <a:pt x="251" y="91"/>
                        <a:pt x="251" y="91"/>
                      </a:cubicBezTo>
                      <a:cubicBezTo>
                        <a:pt x="245" y="85"/>
                        <a:pt x="245" y="85"/>
                        <a:pt x="245" y="85"/>
                      </a:cubicBezTo>
                      <a:cubicBezTo>
                        <a:pt x="236" y="76"/>
                        <a:pt x="236" y="76"/>
                        <a:pt x="236" y="76"/>
                      </a:cubicBezTo>
                      <a:cubicBezTo>
                        <a:pt x="236" y="66"/>
                        <a:pt x="236" y="66"/>
                        <a:pt x="236" y="66"/>
                      </a:cubicBezTo>
                      <a:cubicBezTo>
                        <a:pt x="236" y="61"/>
                        <a:pt x="236" y="61"/>
                        <a:pt x="236" y="61"/>
                      </a:cubicBezTo>
                      <a:cubicBezTo>
                        <a:pt x="243" y="54"/>
                        <a:pt x="243" y="54"/>
                        <a:pt x="243" y="54"/>
                      </a:cubicBezTo>
                      <a:cubicBezTo>
                        <a:pt x="250" y="54"/>
                        <a:pt x="250" y="54"/>
                        <a:pt x="250" y="54"/>
                      </a:cubicBezTo>
                      <a:cubicBezTo>
                        <a:pt x="255" y="50"/>
                        <a:pt x="255" y="50"/>
                        <a:pt x="255" y="50"/>
                      </a:cubicBezTo>
                      <a:cubicBezTo>
                        <a:pt x="256" y="41"/>
                        <a:pt x="256" y="41"/>
                        <a:pt x="256" y="41"/>
                      </a:cubicBezTo>
                      <a:cubicBezTo>
                        <a:pt x="259" y="32"/>
                        <a:pt x="259" y="32"/>
                        <a:pt x="259" y="32"/>
                      </a:cubicBezTo>
                      <a:cubicBezTo>
                        <a:pt x="259" y="32"/>
                        <a:pt x="266" y="36"/>
                        <a:pt x="271" y="36"/>
                      </a:cubicBezTo>
                      <a:cubicBezTo>
                        <a:pt x="276" y="36"/>
                        <a:pt x="277" y="37"/>
                        <a:pt x="277" y="42"/>
                      </a:cubicBezTo>
                      <a:cubicBezTo>
                        <a:pt x="277" y="47"/>
                        <a:pt x="284" y="45"/>
                        <a:pt x="284" y="45"/>
                      </a:cubicBezTo>
                      <a:cubicBezTo>
                        <a:pt x="284" y="45"/>
                        <a:pt x="284" y="45"/>
                        <a:pt x="290" y="45"/>
                      </a:cubicBezTo>
                      <a:cubicBezTo>
                        <a:pt x="296" y="45"/>
                        <a:pt x="298" y="49"/>
                        <a:pt x="298" y="55"/>
                      </a:cubicBezTo>
                      <a:cubicBezTo>
                        <a:pt x="298" y="62"/>
                        <a:pt x="291" y="55"/>
                        <a:pt x="287" y="55"/>
                      </a:cubicBezTo>
                      <a:cubicBezTo>
                        <a:pt x="283" y="55"/>
                        <a:pt x="287" y="61"/>
                        <a:pt x="287" y="61"/>
                      </a:cubicBezTo>
                      <a:cubicBezTo>
                        <a:pt x="287" y="68"/>
                        <a:pt x="287" y="68"/>
                        <a:pt x="287" y="68"/>
                      </a:cubicBezTo>
                      <a:cubicBezTo>
                        <a:pt x="287" y="68"/>
                        <a:pt x="290" y="73"/>
                        <a:pt x="294" y="73"/>
                      </a:cubicBezTo>
                      <a:cubicBezTo>
                        <a:pt x="298" y="73"/>
                        <a:pt x="294" y="76"/>
                        <a:pt x="297" y="79"/>
                      </a:cubicBezTo>
                      <a:cubicBezTo>
                        <a:pt x="300" y="82"/>
                        <a:pt x="301" y="80"/>
                        <a:pt x="301" y="80"/>
                      </a:cubicBezTo>
                      <a:cubicBezTo>
                        <a:pt x="301" y="80"/>
                        <a:pt x="305" y="80"/>
                        <a:pt x="312" y="80"/>
                      </a:cubicBezTo>
                      <a:cubicBezTo>
                        <a:pt x="312" y="74"/>
                        <a:pt x="312" y="74"/>
                        <a:pt x="312" y="74"/>
                      </a:cubicBezTo>
                      <a:cubicBezTo>
                        <a:pt x="312" y="74"/>
                        <a:pt x="309" y="71"/>
                        <a:pt x="306" y="68"/>
                      </a:cubicBezTo>
                      <a:cubicBezTo>
                        <a:pt x="303" y="65"/>
                        <a:pt x="306" y="62"/>
                        <a:pt x="306" y="62"/>
                      </a:cubicBezTo>
                      <a:cubicBezTo>
                        <a:pt x="306" y="62"/>
                        <a:pt x="312" y="62"/>
                        <a:pt x="317" y="62"/>
                      </a:cubicBezTo>
                      <a:cubicBezTo>
                        <a:pt x="322" y="62"/>
                        <a:pt x="317" y="55"/>
                        <a:pt x="317" y="55"/>
                      </a:cubicBezTo>
                      <a:cubicBezTo>
                        <a:pt x="311" y="49"/>
                        <a:pt x="311" y="49"/>
                        <a:pt x="311" y="49"/>
                      </a:cubicBezTo>
                      <a:cubicBezTo>
                        <a:pt x="315" y="42"/>
                        <a:pt x="315" y="42"/>
                        <a:pt x="315" y="42"/>
                      </a:cubicBezTo>
                      <a:cubicBezTo>
                        <a:pt x="321" y="37"/>
                        <a:pt x="321" y="37"/>
                        <a:pt x="321" y="37"/>
                      </a:cubicBezTo>
                      <a:cubicBezTo>
                        <a:pt x="321" y="30"/>
                        <a:pt x="321" y="30"/>
                        <a:pt x="321" y="30"/>
                      </a:cubicBezTo>
                      <a:cubicBezTo>
                        <a:pt x="329" y="22"/>
                        <a:pt x="329" y="22"/>
                        <a:pt x="329" y="22"/>
                      </a:cubicBezTo>
                      <a:cubicBezTo>
                        <a:pt x="331" y="12"/>
                        <a:pt x="331" y="12"/>
                        <a:pt x="331" y="12"/>
                      </a:cubicBezTo>
                      <a:cubicBezTo>
                        <a:pt x="330" y="2"/>
                        <a:pt x="330" y="2"/>
                        <a:pt x="330" y="2"/>
                      </a:cubicBezTo>
                      <a:cubicBezTo>
                        <a:pt x="330" y="2"/>
                        <a:pt x="334" y="0"/>
                        <a:pt x="339" y="0"/>
                      </a:cubicBezTo>
                      <a:cubicBezTo>
                        <a:pt x="344" y="0"/>
                        <a:pt x="345" y="0"/>
                        <a:pt x="345" y="0"/>
                      </a:cubicBezTo>
                      <a:cubicBezTo>
                        <a:pt x="350" y="6"/>
                        <a:pt x="350" y="6"/>
                        <a:pt x="350" y="6"/>
                      </a:cubicBezTo>
                      <a:cubicBezTo>
                        <a:pt x="350" y="6"/>
                        <a:pt x="350" y="6"/>
                        <a:pt x="354" y="9"/>
                      </a:cubicBezTo>
                      <a:cubicBezTo>
                        <a:pt x="358" y="13"/>
                        <a:pt x="354" y="9"/>
                        <a:pt x="359" y="14"/>
                      </a:cubicBezTo>
                      <a:cubicBezTo>
                        <a:pt x="364" y="19"/>
                        <a:pt x="371" y="9"/>
                        <a:pt x="371" y="9"/>
                      </a:cubicBezTo>
                      <a:cubicBezTo>
                        <a:pt x="385" y="9"/>
                        <a:pt x="385" y="9"/>
                        <a:pt x="385" y="9"/>
                      </a:cubicBezTo>
                      <a:cubicBezTo>
                        <a:pt x="385" y="9"/>
                        <a:pt x="393" y="9"/>
                        <a:pt x="397" y="9"/>
                      </a:cubicBezTo>
                      <a:cubicBezTo>
                        <a:pt x="401" y="9"/>
                        <a:pt x="409" y="10"/>
                        <a:pt x="409" y="10"/>
                      </a:cubicBezTo>
                      <a:cubicBezTo>
                        <a:pt x="419" y="10"/>
                        <a:pt x="419" y="10"/>
                        <a:pt x="419" y="10"/>
                      </a:cubicBezTo>
                      <a:cubicBezTo>
                        <a:pt x="424" y="4"/>
                        <a:pt x="424" y="4"/>
                        <a:pt x="424" y="4"/>
                      </a:cubicBezTo>
                      <a:cubicBezTo>
                        <a:pt x="428" y="4"/>
                        <a:pt x="433" y="8"/>
                        <a:pt x="433" y="8"/>
                      </a:cubicBezTo>
                      <a:cubicBezTo>
                        <a:pt x="429" y="12"/>
                        <a:pt x="429" y="12"/>
                        <a:pt x="429" y="12"/>
                      </a:cubicBezTo>
                      <a:cubicBezTo>
                        <a:pt x="429" y="17"/>
                        <a:pt x="429" y="17"/>
                        <a:pt x="429" y="17"/>
                      </a:cubicBezTo>
                      <a:cubicBezTo>
                        <a:pt x="435" y="20"/>
                        <a:pt x="435" y="20"/>
                        <a:pt x="435" y="20"/>
                      </a:cubicBezTo>
                      <a:cubicBezTo>
                        <a:pt x="435" y="20"/>
                        <a:pt x="439" y="23"/>
                        <a:pt x="435" y="27"/>
                      </a:cubicBezTo>
                      <a:cubicBezTo>
                        <a:pt x="431" y="30"/>
                        <a:pt x="439" y="30"/>
                        <a:pt x="439" y="30"/>
                      </a:cubicBezTo>
                      <a:cubicBezTo>
                        <a:pt x="439" y="30"/>
                        <a:pt x="439" y="30"/>
                        <a:pt x="442" y="33"/>
                      </a:cubicBezTo>
                      <a:cubicBezTo>
                        <a:pt x="444" y="36"/>
                        <a:pt x="444" y="35"/>
                        <a:pt x="447" y="35"/>
                      </a:cubicBezTo>
                      <a:cubicBezTo>
                        <a:pt x="451" y="35"/>
                        <a:pt x="450" y="35"/>
                        <a:pt x="450" y="39"/>
                      </a:cubicBezTo>
                      <a:cubicBezTo>
                        <a:pt x="450" y="42"/>
                        <a:pt x="450" y="39"/>
                        <a:pt x="450" y="47"/>
                      </a:cubicBezTo>
                      <a:cubicBezTo>
                        <a:pt x="450" y="55"/>
                        <a:pt x="446" y="52"/>
                        <a:pt x="446" y="52"/>
                      </a:cubicBezTo>
                      <a:cubicBezTo>
                        <a:pt x="450" y="56"/>
                        <a:pt x="450" y="56"/>
                        <a:pt x="450" y="56"/>
                      </a:cubicBezTo>
                      <a:cubicBezTo>
                        <a:pt x="453" y="62"/>
                        <a:pt x="453" y="62"/>
                        <a:pt x="453" y="62"/>
                      </a:cubicBezTo>
                      <a:cubicBezTo>
                        <a:pt x="453" y="62"/>
                        <a:pt x="455" y="65"/>
                        <a:pt x="457" y="67"/>
                      </a:cubicBezTo>
                      <a:cubicBezTo>
                        <a:pt x="459" y="69"/>
                        <a:pt x="465" y="70"/>
                        <a:pt x="465" y="70"/>
                      </a:cubicBezTo>
                      <a:cubicBezTo>
                        <a:pt x="465" y="70"/>
                        <a:pt x="469" y="73"/>
                        <a:pt x="469" y="77"/>
                      </a:cubicBezTo>
                      <a:cubicBezTo>
                        <a:pt x="469" y="81"/>
                        <a:pt x="469" y="82"/>
                        <a:pt x="469" y="82"/>
                      </a:cubicBezTo>
                      <a:cubicBezTo>
                        <a:pt x="474" y="91"/>
                        <a:pt x="474" y="91"/>
                        <a:pt x="474" y="91"/>
                      </a:cubicBezTo>
                      <a:cubicBezTo>
                        <a:pt x="474" y="91"/>
                        <a:pt x="476" y="93"/>
                        <a:pt x="479" y="96"/>
                      </a:cubicBezTo>
                      <a:cubicBezTo>
                        <a:pt x="482" y="99"/>
                        <a:pt x="482" y="101"/>
                        <a:pt x="482" y="101"/>
                      </a:cubicBezTo>
                      <a:cubicBezTo>
                        <a:pt x="482" y="101"/>
                        <a:pt x="485" y="103"/>
                        <a:pt x="482" y="106"/>
                      </a:cubicBezTo>
                      <a:cubicBezTo>
                        <a:pt x="479" y="108"/>
                        <a:pt x="485" y="108"/>
                        <a:pt x="488" y="112"/>
                      </a:cubicBezTo>
                      <a:cubicBezTo>
                        <a:pt x="491" y="115"/>
                        <a:pt x="492" y="116"/>
                        <a:pt x="492" y="116"/>
                      </a:cubicBezTo>
                      <a:cubicBezTo>
                        <a:pt x="492" y="116"/>
                        <a:pt x="496" y="116"/>
                        <a:pt x="504" y="123"/>
                      </a:cubicBezTo>
                      <a:cubicBezTo>
                        <a:pt x="511" y="131"/>
                        <a:pt x="508" y="128"/>
                        <a:pt x="508" y="128"/>
                      </a:cubicBezTo>
                      <a:cubicBezTo>
                        <a:pt x="508" y="135"/>
                        <a:pt x="508" y="135"/>
                        <a:pt x="508" y="135"/>
                      </a:cubicBezTo>
                      <a:cubicBezTo>
                        <a:pt x="515" y="141"/>
                        <a:pt x="515" y="141"/>
                        <a:pt x="515" y="141"/>
                      </a:cubicBezTo>
                      <a:cubicBezTo>
                        <a:pt x="320" y="365"/>
                        <a:pt x="320" y="365"/>
                        <a:pt x="320" y="365"/>
                      </a:cubicBezTo>
                      <a:cubicBezTo>
                        <a:pt x="324" y="370"/>
                        <a:pt x="324" y="370"/>
                        <a:pt x="324" y="370"/>
                      </a:cubicBezTo>
                      <a:cubicBezTo>
                        <a:pt x="324" y="375"/>
                        <a:pt x="324" y="375"/>
                        <a:pt x="324" y="375"/>
                      </a:cubicBezTo>
                      <a:cubicBezTo>
                        <a:pt x="329" y="375"/>
                        <a:pt x="329" y="375"/>
                        <a:pt x="329" y="375"/>
                      </a:cubicBezTo>
                      <a:cubicBezTo>
                        <a:pt x="329" y="375"/>
                        <a:pt x="333" y="375"/>
                        <a:pt x="338" y="375"/>
                      </a:cubicBezTo>
                      <a:cubicBezTo>
                        <a:pt x="343" y="375"/>
                        <a:pt x="338" y="379"/>
                        <a:pt x="338" y="379"/>
                      </a:cubicBezTo>
                      <a:cubicBezTo>
                        <a:pt x="338" y="389"/>
                        <a:pt x="338" y="389"/>
                        <a:pt x="338" y="389"/>
                      </a:cubicBezTo>
                      <a:cubicBezTo>
                        <a:pt x="338" y="389"/>
                        <a:pt x="337" y="398"/>
                        <a:pt x="339" y="399"/>
                      </a:cubicBezTo>
                      <a:cubicBezTo>
                        <a:pt x="340" y="401"/>
                        <a:pt x="339" y="403"/>
                        <a:pt x="339" y="407"/>
                      </a:cubicBezTo>
                      <a:cubicBezTo>
                        <a:pt x="339" y="410"/>
                        <a:pt x="339" y="413"/>
                        <a:pt x="339" y="417"/>
                      </a:cubicBezTo>
                      <a:cubicBezTo>
                        <a:pt x="339" y="420"/>
                        <a:pt x="337" y="420"/>
                        <a:pt x="337" y="423"/>
                      </a:cubicBezTo>
                      <a:cubicBezTo>
                        <a:pt x="337" y="426"/>
                        <a:pt x="337" y="428"/>
                        <a:pt x="337" y="428"/>
                      </a:cubicBezTo>
                      <a:cubicBezTo>
                        <a:pt x="342" y="428"/>
                        <a:pt x="342" y="428"/>
                        <a:pt x="342" y="428"/>
                      </a:cubicBezTo>
                      <a:cubicBezTo>
                        <a:pt x="342" y="428"/>
                        <a:pt x="344" y="428"/>
                        <a:pt x="347" y="428"/>
                      </a:cubicBezTo>
                      <a:cubicBezTo>
                        <a:pt x="350" y="428"/>
                        <a:pt x="355" y="428"/>
                        <a:pt x="355" y="428"/>
                      </a:cubicBezTo>
                      <a:cubicBezTo>
                        <a:pt x="358" y="425"/>
                        <a:pt x="358" y="425"/>
                        <a:pt x="358" y="425"/>
                      </a:cubicBezTo>
                      <a:cubicBezTo>
                        <a:pt x="364" y="425"/>
                        <a:pt x="364" y="425"/>
                        <a:pt x="364" y="425"/>
                      </a:cubicBezTo>
                      <a:cubicBezTo>
                        <a:pt x="369" y="424"/>
                        <a:pt x="369" y="424"/>
                        <a:pt x="369" y="424"/>
                      </a:cubicBezTo>
                      <a:cubicBezTo>
                        <a:pt x="374" y="425"/>
                        <a:pt x="374" y="425"/>
                        <a:pt x="374" y="425"/>
                      </a:cubicBezTo>
                      <a:cubicBezTo>
                        <a:pt x="379" y="425"/>
                        <a:pt x="379" y="425"/>
                        <a:pt x="379" y="425"/>
                      </a:cubicBezTo>
                      <a:cubicBezTo>
                        <a:pt x="379" y="425"/>
                        <a:pt x="379" y="432"/>
                        <a:pt x="379" y="434"/>
                      </a:cubicBezTo>
                      <a:cubicBezTo>
                        <a:pt x="379" y="436"/>
                        <a:pt x="379" y="440"/>
                        <a:pt x="381" y="442"/>
                      </a:cubicBezTo>
                      <a:cubicBezTo>
                        <a:pt x="382" y="443"/>
                        <a:pt x="381" y="450"/>
                        <a:pt x="381" y="450"/>
                      </a:cubicBezTo>
                      <a:cubicBezTo>
                        <a:pt x="381" y="450"/>
                        <a:pt x="381" y="452"/>
                        <a:pt x="381" y="454"/>
                      </a:cubicBezTo>
                      <a:cubicBezTo>
                        <a:pt x="381" y="456"/>
                        <a:pt x="382" y="460"/>
                        <a:pt x="382" y="460"/>
                      </a:cubicBezTo>
                      <a:cubicBezTo>
                        <a:pt x="382" y="460"/>
                        <a:pt x="383" y="466"/>
                        <a:pt x="383" y="469"/>
                      </a:cubicBezTo>
                      <a:cubicBezTo>
                        <a:pt x="383" y="472"/>
                        <a:pt x="383" y="473"/>
                        <a:pt x="383" y="475"/>
                      </a:cubicBezTo>
                      <a:cubicBezTo>
                        <a:pt x="383" y="477"/>
                        <a:pt x="383" y="480"/>
                        <a:pt x="383" y="482"/>
                      </a:cubicBezTo>
                      <a:cubicBezTo>
                        <a:pt x="383" y="484"/>
                        <a:pt x="382" y="490"/>
                        <a:pt x="381" y="491"/>
                      </a:cubicBezTo>
                      <a:cubicBezTo>
                        <a:pt x="379" y="493"/>
                        <a:pt x="380" y="496"/>
                        <a:pt x="380" y="499"/>
                      </a:cubicBezTo>
                      <a:cubicBezTo>
                        <a:pt x="380" y="501"/>
                        <a:pt x="380" y="508"/>
                        <a:pt x="380" y="511"/>
                      </a:cubicBezTo>
                      <a:cubicBezTo>
                        <a:pt x="380" y="514"/>
                        <a:pt x="377" y="528"/>
                        <a:pt x="377" y="528"/>
                      </a:cubicBezTo>
                      <a:cubicBezTo>
                        <a:pt x="377" y="528"/>
                        <a:pt x="375" y="535"/>
                        <a:pt x="375" y="538"/>
                      </a:cubicBezTo>
                      <a:cubicBezTo>
                        <a:pt x="375" y="540"/>
                        <a:pt x="379" y="541"/>
                        <a:pt x="380" y="543"/>
                      </a:cubicBezTo>
                      <a:cubicBezTo>
                        <a:pt x="382" y="544"/>
                        <a:pt x="385" y="550"/>
                        <a:pt x="385" y="550"/>
                      </a:cubicBezTo>
                      <a:cubicBezTo>
                        <a:pt x="391" y="563"/>
                        <a:pt x="391" y="563"/>
                        <a:pt x="391" y="563"/>
                      </a:cubicBezTo>
                      <a:cubicBezTo>
                        <a:pt x="395" y="571"/>
                        <a:pt x="395" y="571"/>
                        <a:pt x="395" y="571"/>
                      </a:cubicBezTo>
                      <a:cubicBezTo>
                        <a:pt x="395" y="571"/>
                        <a:pt x="392" y="572"/>
                        <a:pt x="389" y="572"/>
                      </a:cubicBezTo>
                      <a:cubicBezTo>
                        <a:pt x="387" y="572"/>
                        <a:pt x="385" y="576"/>
                        <a:pt x="385" y="576"/>
                      </a:cubicBezTo>
                      <a:cubicBezTo>
                        <a:pt x="385" y="576"/>
                        <a:pt x="385" y="579"/>
                        <a:pt x="385" y="581"/>
                      </a:cubicBezTo>
                      <a:cubicBezTo>
                        <a:pt x="385" y="583"/>
                        <a:pt x="384" y="587"/>
                        <a:pt x="384" y="587"/>
                      </a:cubicBezTo>
                      <a:cubicBezTo>
                        <a:pt x="380" y="591"/>
                        <a:pt x="380" y="591"/>
                        <a:pt x="380" y="591"/>
                      </a:cubicBezTo>
                      <a:cubicBezTo>
                        <a:pt x="375" y="596"/>
                        <a:pt x="375" y="596"/>
                        <a:pt x="375" y="596"/>
                      </a:cubicBezTo>
                      <a:cubicBezTo>
                        <a:pt x="375" y="596"/>
                        <a:pt x="374" y="598"/>
                        <a:pt x="371" y="600"/>
                      </a:cubicBezTo>
                      <a:cubicBezTo>
                        <a:pt x="369" y="602"/>
                        <a:pt x="370" y="602"/>
                        <a:pt x="367" y="602"/>
                      </a:cubicBezTo>
                      <a:cubicBezTo>
                        <a:pt x="367" y="602"/>
                        <a:pt x="366" y="600"/>
                        <a:pt x="366" y="600"/>
                      </a:cubicBezTo>
                      <a:cubicBezTo>
                        <a:pt x="365" y="599"/>
                        <a:pt x="365" y="598"/>
                        <a:pt x="365" y="598"/>
                      </a:cubicBezTo>
                      <a:cubicBezTo>
                        <a:pt x="365" y="598"/>
                        <a:pt x="363" y="597"/>
                        <a:pt x="364" y="596"/>
                      </a:cubicBezTo>
                      <a:cubicBezTo>
                        <a:pt x="365" y="595"/>
                        <a:pt x="367" y="595"/>
                        <a:pt x="368" y="594"/>
                      </a:cubicBezTo>
                      <a:cubicBezTo>
                        <a:pt x="368" y="593"/>
                        <a:pt x="369" y="594"/>
                        <a:pt x="370" y="593"/>
                      </a:cubicBezTo>
                      <a:cubicBezTo>
                        <a:pt x="371" y="592"/>
                        <a:pt x="371" y="591"/>
                        <a:pt x="371" y="589"/>
                      </a:cubicBezTo>
                      <a:cubicBezTo>
                        <a:pt x="371" y="588"/>
                        <a:pt x="371" y="587"/>
                        <a:pt x="371" y="587"/>
                      </a:cubicBezTo>
                      <a:cubicBezTo>
                        <a:pt x="371" y="587"/>
                        <a:pt x="371" y="585"/>
                        <a:pt x="371" y="584"/>
                      </a:cubicBezTo>
                      <a:cubicBezTo>
                        <a:pt x="371" y="583"/>
                        <a:pt x="372" y="582"/>
                        <a:pt x="374" y="580"/>
                      </a:cubicBezTo>
                      <a:cubicBezTo>
                        <a:pt x="375" y="579"/>
                        <a:pt x="375" y="578"/>
                        <a:pt x="375" y="577"/>
                      </a:cubicBezTo>
                      <a:cubicBezTo>
                        <a:pt x="375" y="576"/>
                        <a:pt x="376" y="575"/>
                        <a:pt x="375" y="574"/>
                      </a:cubicBezTo>
                      <a:cubicBezTo>
                        <a:pt x="373" y="572"/>
                        <a:pt x="373" y="572"/>
                        <a:pt x="373" y="571"/>
                      </a:cubicBezTo>
                      <a:cubicBezTo>
                        <a:pt x="373" y="570"/>
                        <a:pt x="372" y="568"/>
                        <a:pt x="371" y="568"/>
                      </a:cubicBezTo>
                      <a:cubicBezTo>
                        <a:pt x="370" y="568"/>
                        <a:pt x="369" y="566"/>
                        <a:pt x="366" y="566"/>
                      </a:cubicBezTo>
                      <a:cubicBezTo>
                        <a:pt x="364" y="566"/>
                        <a:pt x="366" y="566"/>
                        <a:pt x="363" y="566"/>
                      </a:cubicBezTo>
                      <a:cubicBezTo>
                        <a:pt x="360" y="566"/>
                        <a:pt x="357" y="565"/>
                        <a:pt x="357" y="565"/>
                      </a:cubicBezTo>
                      <a:cubicBezTo>
                        <a:pt x="357" y="563"/>
                        <a:pt x="357" y="563"/>
                        <a:pt x="357" y="563"/>
                      </a:cubicBezTo>
                      <a:cubicBezTo>
                        <a:pt x="357" y="563"/>
                        <a:pt x="358" y="564"/>
                        <a:pt x="360" y="561"/>
                      </a:cubicBezTo>
                      <a:cubicBezTo>
                        <a:pt x="363" y="559"/>
                        <a:pt x="366" y="559"/>
                        <a:pt x="366" y="558"/>
                      </a:cubicBezTo>
                      <a:cubicBezTo>
                        <a:pt x="367" y="557"/>
                        <a:pt x="371" y="555"/>
                        <a:pt x="370" y="555"/>
                      </a:cubicBezTo>
                      <a:cubicBezTo>
                        <a:pt x="369" y="554"/>
                        <a:pt x="368" y="553"/>
                        <a:pt x="368" y="551"/>
                      </a:cubicBezTo>
                      <a:cubicBezTo>
                        <a:pt x="368" y="550"/>
                        <a:pt x="367" y="550"/>
                        <a:pt x="367" y="548"/>
                      </a:cubicBezTo>
                      <a:cubicBezTo>
                        <a:pt x="367" y="547"/>
                        <a:pt x="364" y="547"/>
                        <a:pt x="366" y="545"/>
                      </a:cubicBezTo>
                      <a:cubicBezTo>
                        <a:pt x="367" y="544"/>
                        <a:pt x="368" y="542"/>
                        <a:pt x="368" y="542"/>
                      </a:cubicBezTo>
                      <a:cubicBezTo>
                        <a:pt x="368" y="542"/>
                        <a:pt x="368" y="540"/>
                        <a:pt x="368" y="539"/>
                      </a:cubicBezTo>
                      <a:cubicBezTo>
                        <a:pt x="368" y="538"/>
                        <a:pt x="367" y="537"/>
                        <a:pt x="367" y="534"/>
                      </a:cubicBezTo>
                      <a:cubicBezTo>
                        <a:pt x="367" y="532"/>
                        <a:pt x="367" y="531"/>
                        <a:pt x="367" y="530"/>
                      </a:cubicBezTo>
                      <a:cubicBezTo>
                        <a:pt x="367" y="528"/>
                        <a:pt x="367" y="525"/>
                        <a:pt x="367" y="525"/>
                      </a:cubicBezTo>
                      <a:cubicBezTo>
                        <a:pt x="367" y="525"/>
                        <a:pt x="369" y="524"/>
                        <a:pt x="366" y="522"/>
                      </a:cubicBezTo>
                      <a:cubicBezTo>
                        <a:pt x="364" y="520"/>
                        <a:pt x="365" y="520"/>
                        <a:pt x="364" y="519"/>
                      </a:cubicBezTo>
                      <a:cubicBezTo>
                        <a:pt x="363" y="517"/>
                        <a:pt x="362" y="517"/>
                        <a:pt x="362" y="516"/>
                      </a:cubicBezTo>
                      <a:cubicBezTo>
                        <a:pt x="362" y="514"/>
                        <a:pt x="361" y="513"/>
                        <a:pt x="363" y="513"/>
                      </a:cubicBezTo>
                      <a:cubicBezTo>
                        <a:pt x="365" y="513"/>
                        <a:pt x="369" y="511"/>
                        <a:pt x="369" y="510"/>
                      </a:cubicBezTo>
                      <a:cubicBezTo>
                        <a:pt x="369" y="508"/>
                        <a:pt x="369" y="507"/>
                        <a:pt x="369" y="507"/>
                      </a:cubicBezTo>
                      <a:cubicBezTo>
                        <a:pt x="369" y="507"/>
                        <a:pt x="370" y="503"/>
                        <a:pt x="370" y="501"/>
                      </a:cubicBezTo>
                      <a:cubicBezTo>
                        <a:pt x="370" y="499"/>
                        <a:pt x="372" y="500"/>
                        <a:pt x="371" y="497"/>
                      </a:cubicBezTo>
                      <a:cubicBezTo>
                        <a:pt x="370" y="493"/>
                        <a:pt x="371" y="490"/>
                        <a:pt x="371" y="488"/>
                      </a:cubicBezTo>
                      <a:cubicBezTo>
                        <a:pt x="371" y="487"/>
                        <a:pt x="370" y="486"/>
                        <a:pt x="370" y="485"/>
                      </a:cubicBezTo>
                      <a:cubicBezTo>
                        <a:pt x="370" y="483"/>
                        <a:pt x="370" y="481"/>
                        <a:pt x="370" y="481"/>
                      </a:cubicBezTo>
                      <a:cubicBezTo>
                        <a:pt x="370" y="481"/>
                        <a:pt x="372" y="481"/>
                        <a:pt x="370" y="479"/>
                      </a:cubicBezTo>
                      <a:cubicBezTo>
                        <a:pt x="367" y="477"/>
                        <a:pt x="366" y="478"/>
                        <a:pt x="366" y="476"/>
                      </a:cubicBezTo>
                      <a:cubicBezTo>
                        <a:pt x="366" y="474"/>
                        <a:pt x="366" y="474"/>
                        <a:pt x="366" y="472"/>
                      </a:cubicBezTo>
                      <a:cubicBezTo>
                        <a:pt x="366" y="470"/>
                        <a:pt x="366" y="468"/>
                        <a:pt x="368" y="466"/>
                      </a:cubicBezTo>
                      <a:cubicBezTo>
                        <a:pt x="369" y="464"/>
                        <a:pt x="367" y="464"/>
                        <a:pt x="369" y="462"/>
                      </a:cubicBezTo>
                      <a:cubicBezTo>
                        <a:pt x="371" y="460"/>
                        <a:pt x="371" y="458"/>
                        <a:pt x="371" y="456"/>
                      </a:cubicBezTo>
                      <a:cubicBezTo>
                        <a:pt x="371" y="453"/>
                        <a:pt x="373" y="449"/>
                        <a:pt x="371" y="451"/>
                      </a:cubicBezTo>
                      <a:cubicBezTo>
                        <a:pt x="369" y="453"/>
                        <a:pt x="367" y="458"/>
                        <a:pt x="367" y="458"/>
                      </a:cubicBezTo>
                      <a:cubicBezTo>
                        <a:pt x="367" y="458"/>
                        <a:pt x="365" y="461"/>
                        <a:pt x="365" y="463"/>
                      </a:cubicBezTo>
                      <a:cubicBezTo>
                        <a:pt x="365" y="464"/>
                        <a:pt x="364" y="465"/>
                        <a:pt x="363" y="466"/>
                      </a:cubicBezTo>
                      <a:cubicBezTo>
                        <a:pt x="362" y="467"/>
                        <a:pt x="361" y="470"/>
                        <a:pt x="360" y="469"/>
                      </a:cubicBezTo>
                      <a:cubicBezTo>
                        <a:pt x="359" y="469"/>
                        <a:pt x="360" y="470"/>
                        <a:pt x="358" y="468"/>
                      </a:cubicBezTo>
                      <a:cubicBezTo>
                        <a:pt x="356" y="466"/>
                        <a:pt x="354" y="465"/>
                        <a:pt x="354" y="465"/>
                      </a:cubicBezTo>
                      <a:cubicBezTo>
                        <a:pt x="354" y="465"/>
                        <a:pt x="349" y="461"/>
                        <a:pt x="351" y="459"/>
                      </a:cubicBezTo>
                      <a:cubicBezTo>
                        <a:pt x="354" y="457"/>
                        <a:pt x="354" y="456"/>
                        <a:pt x="354" y="454"/>
                      </a:cubicBezTo>
                      <a:cubicBezTo>
                        <a:pt x="354" y="452"/>
                        <a:pt x="356" y="453"/>
                        <a:pt x="354" y="450"/>
                      </a:cubicBezTo>
                      <a:cubicBezTo>
                        <a:pt x="352" y="448"/>
                        <a:pt x="351" y="446"/>
                        <a:pt x="350" y="446"/>
                      </a:cubicBezTo>
                      <a:cubicBezTo>
                        <a:pt x="350" y="446"/>
                        <a:pt x="345" y="447"/>
                        <a:pt x="345" y="449"/>
                      </a:cubicBezTo>
                      <a:cubicBezTo>
                        <a:pt x="345" y="452"/>
                        <a:pt x="345" y="460"/>
                        <a:pt x="345" y="460"/>
                      </a:cubicBezTo>
                      <a:cubicBezTo>
                        <a:pt x="345" y="460"/>
                        <a:pt x="347" y="460"/>
                        <a:pt x="343" y="460"/>
                      </a:cubicBezTo>
                      <a:cubicBezTo>
                        <a:pt x="339" y="460"/>
                        <a:pt x="337" y="458"/>
                        <a:pt x="337" y="458"/>
                      </a:cubicBezTo>
                      <a:cubicBezTo>
                        <a:pt x="337" y="458"/>
                        <a:pt x="339" y="463"/>
                        <a:pt x="336" y="457"/>
                      </a:cubicBezTo>
                      <a:cubicBezTo>
                        <a:pt x="333" y="451"/>
                        <a:pt x="334" y="455"/>
                        <a:pt x="332" y="450"/>
                      </a:cubicBezTo>
                      <a:cubicBezTo>
                        <a:pt x="330" y="445"/>
                        <a:pt x="329" y="443"/>
                        <a:pt x="329" y="442"/>
                      </a:cubicBezTo>
                      <a:cubicBezTo>
                        <a:pt x="329" y="441"/>
                        <a:pt x="329" y="439"/>
                        <a:pt x="329" y="438"/>
                      </a:cubicBezTo>
                      <a:cubicBezTo>
                        <a:pt x="329" y="436"/>
                        <a:pt x="329" y="425"/>
                        <a:pt x="327" y="424"/>
                      </a:cubicBezTo>
                      <a:cubicBezTo>
                        <a:pt x="326" y="423"/>
                        <a:pt x="327" y="422"/>
                        <a:pt x="326" y="421"/>
                      </a:cubicBezTo>
                      <a:cubicBezTo>
                        <a:pt x="325" y="420"/>
                        <a:pt x="325" y="419"/>
                        <a:pt x="324" y="418"/>
                      </a:cubicBezTo>
                      <a:cubicBezTo>
                        <a:pt x="323" y="417"/>
                        <a:pt x="321" y="416"/>
                        <a:pt x="321" y="415"/>
                      </a:cubicBezTo>
                      <a:cubicBezTo>
                        <a:pt x="321" y="413"/>
                        <a:pt x="320" y="413"/>
                        <a:pt x="320" y="411"/>
                      </a:cubicBezTo>
                      <a:cubicBezTo>
                        <a:pt x="320" y="410"/>
                        <a:pt x="319" y="409"/>
                        <a:pt x="319" y="408"/>
                      </a:cubicBezTo>
                      <a:cubicBezTo>
                        <a:pt x="319" y="407"/>
                        <a:pt x="319" y="405"/>
                        <a:pt x="319" y="404"/>
                      </a:cubicBezTo>
                      <a:cubicBezTo>
                        <a:pt x="319" y="402"/>
                        <a:pt x="319" y="402"/>
                        <a:pt x="320" y="401"/>
                      </a:cubicBezTo>
                      <a:cubicBezTo>
                        <a:pt x="322" y="399"/>
                        <a:pt x="325" y="400"/>
                        <a:pt x="326" y="399"/>
                      </a:cubicBezTo>
                      <a:cubicBezTo>
                        <a:pt x="327" y="398"/>
                        <a:pt x="330" y="398"/>
                        <a:pt x="330" y="396"/>
                      </a:cubicBezTo>
                      <a:cubicBezTo>
                        <a:pt x="330" y="394"/>
                        <a:pt x="330" y="392"/>
                        <a:pt x="326" y="392"/>
                      </a:cubicBezTo>
                      <a:cubicBezTo>
                        <a:pt x="322" y="392"/>
                        <a:pt x="319" y="390"/>
                        <a:pt x="316" y="390"/>
                      </a:cubicBezTo>
                      <a:cubicBezTo>
                        <a:pt x="312" y="390"/>
                        <a:pt x="310" y="389"/>
                        <a:pt x="310" y="388"/>
                      </a:cubicBezTo>
                      <a:cubicBezTo>
                        <a:pt x="309" y="387"/>
                        <a:pt x="309" y="387"/>
                        <a:pt x="306" y="385"/>
                      </a:cubicBezTo>
                      <a:cubicBezTo>
                        <a:pt x="304" y="382"/>
                        <a:pt x="304" y="380"/>
                        <a:pt x="304" y="380"/>
                      </a:cubicBezTo>
                      <a:cubicBezTo>
                        <a:pt x="304" y="380"/>
                        <a:pt x="304" y="378"/>
                        <a:pt x="306" y="377"/>
                      </a:cubicBezTo>
                      <a:cubicBezTo>
                        <a:pt x="307" y="376"/>
                        <a:pt x="307" y="374"/>
                        <a:pt x="307" y="374"/>
                      </a:cubicBezTo>
                      <a:cubicBezTo>
                        <a:pt x="307" y="374"/>
                        <a:pt x="306" y="379"/>
                        <a:pt x="303" y="371"/>
                      </a:cubicBezTo>
                      <a:cubicBezTo>
                        <a:pt x="300" y="362"/>
                        <a:pt x="296" y="363"/>
                        <a:pt x="296" y="363"/>
                      </a:cubicBezTo>
                      <a:cubicBezTo>
                        <a:pt x="296" y="363"/>
                        <a:pt x="294" y="362"/>
                        <a:pt x="293" y="360"/>
                      </a:cubicBezTo>
                      <a:cubicBezTo>
                        <a:pt x="291" y="358"/>
                        <a:pt x="289" y="358"/>
                        <a:pt x="288" y="357"/>
                      </a:cubicBezTo>
                      <a:cubicBezTo>
                        <a:pt x="287" y="356"/>
                        <a:pt x="286" y="355"/>
                        <a:pt x="286" y="355"/>
                      </a:cubicBezTo>
                      <a:cubicBezTo>
                        <a:pt x="286" y="355"/>
                        <a:pt x="285" y="355"/>
                        <a:pt x="283" y="354"/>
                      </a:cubicBezTo>
                      <a:cubicBezTo>
                        <a:pt x="282" y="352"/>
                        <a:pt x="281" y="352"/>
                        <a:pt x="281" y="352"/>
                      </a:cubicBezTo>
                      <a:cubicBezTo>
                        <a:pt x="281" y="352"/>
                        <a:pt x="273" y="351"/>
                        <a:pt x="273" y="347"/>
                      </a:cubicBezTo>
                      <a:cubicBezTo>
                        <a:pt x="273" y="344"/>
                        <a:pt x="273" y="342"/>
                        <a:pt x="273" y="340"/>
                      </a:cubicBezTo>
                      <a:cubicBezTo>
                        <a:pt x="276" y="333"/>
                        <a:pt x="276" y="333"/>
                        <a:pt x="276" y="333"/>
                      </a:cubicBezTo>
                      <a:cubicBezTo>
                        <a:pt x="279" y="328"/>
                        <a:pt x="279" y="328"/>
                        <a:pt x="279" y="328"/>
                      </a:cubicBezTo>
                      <a:cubicBezTo>
                        <a:pt x="279" y="322"/>
                        <a:pt x="279" y="322"/>
                        <a:pt x="279" y="322"/>
                      </a:cubicBezTo>
                      <a:cubicBezTo>
                        <a:pt x="279" y="315"/>
                        <a:pt x="279" y="315"/>
                        <a:pt x="279" y="315"/>
                      </a:cubicBezTo>
                      <a:cubicBezTo>
                        <a:pt x="275" y="312"/>
                        <a:pt x="275" y="312"/>
                        <a:pt x="275" y="312"/>
                      </a:cubicBezTo>
                      <a:cubicBezTo>
                        <a:pt x="275" y="312"/>
                        <a:pt x="271" y="310"/>
                        <a:pt x="271" y="306"/>
                      </a:cubicBezTo>
                      <a:cubicBezTo>
                        <a:pt x="271" y="302"/>
                        <a:pt x="268" y="299"/>
                        <a:pt x="268" y="299"/>
                      </a:cubicBezTo>
                      <a:cubicBezTo>
                        <a:pt x="264" y="292"/>
                        <a:pt x="264" y="292"/>
                        <a:pt x="264" y="292"/>
                      </a:cubicBezTo>
                      <a:cubicBezTo>
                        <a:pt x="256" y="295"/>
                        <a:pt x="256" y="295"/>
                        <a:pt x="256" y="295"/>
                      </a:cubicBezTo>
                      <a:cubicBezTo>
                        <a:pt x="246" y="301"/>
                        <a:pt x="246" y="301"/>
                        <a:pt x="246" y="301"/>
                      </a:cubicBezTo>
                      <a:cubicBezTo>
                        <a:pt x="240" y="301"/>
                        <a:pt x="212" y="295"/>
                        <a:pt x="212" y="295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1" name="Freeform 93">
                  <a:extLst>
                    <a:ext uri="{FF2B5EF4-FFF2-40B4-BE49-F238E27FC236}">
                      <a16:creationId xmlns:a16="http://schemas.microsoft.com/office/drawing/2014/main" id="{2DCE7D57-AEFF-443F-B788-6C1A9C7CA06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65" y="1282"/>
                  <a:ext cx="41" cy="22"/>
                </a:xfrm>
                <a:custGeom>
                  <a:avLst/>
                  <a:gdLst>
                    <a:gd name="T0" fmla="*/ 36 w 24"/>
                    <a:gd name="T1" fmla="*/ 22 h 13"/>
                    <a:gd name="T2" fmla="*/ 36 w 24"/>
                    <a:gd name="T3" fmla="*/ 14 h 13"/>
                    <a:gd name="T4" fmla="*/ 41 w 24"/>
                    <a:gd name="T5" fmla="*/ 7 h 13"/>
                    <a:gd name="T6" fmla="*/ 31 w 24"/>
                    <a:gd name="T7" fmla="*/ 0 h 13"/>
                    <a:gd name="T8" fmla="*/ 14 w 24"/>
                    <a:gd name="T9" fmla="*/ 0 h 13"/>
                    <a:gd name="T10" fmla="*/ 0 w 24"/>
                    <a:gd name="T11" fmla="*/ 0 h 13"/>
                    <a:gd name="T12" fmla="*/ 15 w 24"/>
                    <a:gd name="T13" fmla="*/ 8 h 13"/>
                    <a:gd name="T14" fmla="*/ 24 w 24"/>
                    <a:gd name="T15" fmla="*/ 15 h 13"/>
                    <a:gd name="T16" fmla="*/ 36 w 24"/>
                    <a:gd name="T17" fmla="*/ 22 h 1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24" h="13">
                      <a:moveTo>
                        <a:pt x="21" y="13"/>
                      </a:move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4" y="4"/>
                        <a:pt x="24" y="4"/>
                        <a:pt x="24" y="4"/>
                      </a:cubicBezTo>
                      <a:cubicBezTo>
                        <a:pt x="24" y="4"/>
                        <a:pt x="23" y="0"/>
                        <a:pt x="18" y="0"/>
                      </a:cubicBezTo>
                      <a:cubicBezTo>
                        <a:pt x="13" y="0"/>
                        <a:pt x="8" y="0"/>
                        <a:pt x="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14" y="9"/>
                        <a:pt x="14" y="9"/>
                        <a:pt x="14" y="9"/>
                      </a:cubicBezTo>
                      <a:lnTo>
                        <a:pt x="21" y="13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2" name="Freeform 94">
                  <a:extLst>
                    <a:ext uri="{FF2B5EF4-FFF2-40B4-BE49-F238E27FC236}">
                      <a16:creationId xmlns:a16="http://schemas.microsoft.com/office/drawing/2014/main" id="{D27F314C-15F6-475F-86F0-705C231C02F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95" y="1246"/>
                  <a:ext cx="42" cy="22"/>
                </a:xfrm>
                <a:custGeom>
                  <a:avLst/>
                  <a:gdLst>
                    <a:gd name="T0" fmla="*/ 32 w 25"/>
                    <a:gd name="T1" fmla="*/ 22 h 13"/>
                    <a:gd name="T2" fmla="*/ 32 w 25"/>
                    <a:gd name="T3" fmla="*/ 15 h 13"/>
                    <a:gd name="T4" fmla="*/ 32 w 25"/>
                    <a:gd name="T5" fmla="*/ 5 h 13"/>
                    <a:gd name="T6" fmla="*/ 22 w 25"/>
                    <a:gd name="T7" fmla="*/ 5 h 13"/>
                    <a:gd name="T8" fmla="*/ 17 w 25"/>
                    <a:gd name="T9" fmla="*/ 10 h 13"/>
                    <a:gd name="T10" fmla="*/ 0 w 25"/>
                    <a:gd name="T11" fmla="*/ 10 h 13"/>
                    <a:gd name="T12" fmla="*/ 13 w 25"/>
                    <a:gd name="T13" fmla="*/ 20 h 13"/>
                    <a:gd name="T14" fmla="*/ 32 w 25"/>
                    <a:gd name="T15" fmla="*/ 22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5" h="13">
                      <a:moveTo>
                        <a:pt x="19" y="13"/>
                      </a:moveTo>
                      <a:cubicBezTo>
                        <a:pt x="19" y="9"/>
                        <a:pt x="19" y="9"/>
                        <a:pt x="19" y="9"/>
                      </a:cubicBezTo>
                      <a:cubicBezTo>
                        <a:pt x="19" y="9"/>
                        <a:pt x="25" y="3"/>
                        <a:pt x="19" y="3"/>
                      </a:cubicBezTo>
                      <a:cubicBezTo>
                        <a:pt x="13" y="3"/>
                        <a:pt x="16" y="0"/>
                        <a:pt x="13" y="3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8" y="12"/>
                        <a:pt x="8" y="12"/>
                        <a:pt x="8" y="12"/>
                      </a:cubicBezTo>
                      <a:lnTo>
                        <a:pt x="19" y="13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3" name="Freeform 95">
                  <a:extLst>
                    <a:ext uri="{FF2B5EF4-FFF2-40B4-BE49-F238E27FC236}">
                      <a16:creationId xmlns:a16="http://schemas.microsoft.com/office/drawing/2014/main" id="{637A190E-FB99-489E-A238-79AAA85A533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51" y="1230"/>
                  <a:ext cx="47" cy="10"/>
                </a:xfrm>
                <a:custGeom>
                  <a:avLst/>
                  <a:gdLst>
                    <a:gd name="T0" fmla="*/ 30 w 47"/>
                    <a:gd name="T1" fmla="*/ 10 h 10"/>
                    <a:gd name="T2" fmla="*/ 47 w 47"/>
                    <a:gd name="T3" fmla="*/ 10 h 10"/>
                    <a:gd name="T4" fmla="*/ 44 w 47"/>
                    <a:gd name="T5" fmla="*/ 0 h 10"/>
                    <a:gd name="T6" fmla="*/ 32 w 47"/>
                    <a:gd name="T7" fmla="*/ 0 h 10"/>
                    <a:gd name="T8" fmla="*/ 24 w 47"/>
                    <a:gd name="T9" fmla="*/ 0 h 10"/>
                    <a:gd name="T10" fmla="*/ 17 w 47"/>
                    <a:gd name="T11" fmla="*/ 0 h 10"/>
                    <a:gd name="T12" fmla="*/ 0 w 47"/>
                    <a:gd name="T13" fmla="*/ 0 h 10"/>
                    <a:gd name="T14" fmla="*/ 8 w 47"/>
                    <a:gd name="T15" fmla="*/ 8 h 10"/>
                    <a:gd name="T16" fmla="*/ 30 w 47"/>
                    <a:gd name="T17" fmla="*/ 10 h 1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7" h="10">
                      <a:moveTo>
                        <a:pt x="30" y="10"/>
                      </a:moveTo>
                      <a:lnTo>
                        <a:pt x="47" y="10"/>
                      </a:lnTo>
                      <a:lnTo>
                        <a:pt x="44" y="0"/>
                      </a:ln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8"/>
                      </a:lnTo>
                      <a:lnTo>
                        <a:pt x="30" y="1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4" name="Freeform 96">
                  <a:extLst>
                    <a:ext uri="{FF2B5EF4-FFF2-40B4-BE49-F238E27FC236}">
                      <a16:creationId xmlns:a16="http://schemas.microsoft.com/office/drawing/2014/main" id="{7EAA20E5-DEAA-4070-BAE0-13C688CCC13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62" y="1798"/>
                  <a:ext cx="38" cy="90"/>
                </a:xfrm>
                <a:custGeom>
                  <a:avLst/>
                  <a:gdLst>
                    <a:gd name="T0" fmla="*/ 18 w 23"/>
                    <a:gd name="T1" fmla="*/ 83 h 54"/>
                    <a:gd name="T2" fmla="*/ 25 w 23"/>
                    <a:gd name="T3" fmla="*/ 83 h 54"/>
                    <a:gd name="T4" fmla="*/ 30 w 23"/>
                    <a:gd name="T5" fmla="*/ 70 h 54"/>
                    <a:gd name="T6" fmla="*/ 33 w 23"/>
                    <a:gd name="T7" fmla="*/ 63 h 54"/>
                    <a:gd name="T8" fmla="*/ 33 w 23"/>
                    <a:gd name="T9" fmla="*/ 53 h 54"/>
                    <a:gd name="T10" fmla="*/ 35 w 23"/>
                    <a:gd name="T11" fmla="*/ 45 h 54"/>
                    <a:gd name="T12" fmla="*/ 35 w 23"/>
                    <a:gd name="T13" fmla="*/ 38 h 54"/>
                    <a:gd name="T14" fmla="*/ 38 w 23"/>
                    <a:gd name="T15" fmla="*/ 25 h 54"/>
                    <a:gd name="T16" fmla="*/ 38 w 23"/>
                    <a:gd name="T17" fmla="*/ 17 h 54"/>
                    <a:gd name="T18" fmla="*/ 30 w 23"/>
                    <a:gd name="T19" fmla="*/ 8 h 54"/>
                    <a:gd name="T20" fmla="*/ 21 w 23"/>
                    <a:gd name="T21" fmla="*/ 17 h 54"/>
                    <a:gd name="T22" fmla="*/ 21 w 23"/>
                    <a:gd name="T23" fmla="*/ 32 h 54"/>
                    <a:gd name="T24" fmla="*/ 10 w 23"/>
                    <a:gd name="T25" fmla="*/ 33 h 54"/>
                    <a:gd name="T26" fmla="*/ 3 w 23"/>
                    <a:gd name="T27" fmla="*/ 40 h 54"/>
                    <a:gd name="T28" fmla="*/ 3 w 23"/>
                    <a:gd name="T29" fmla="*/ 55 h 54"/>
                    <a:gd name="T30" fmla="*/ 3 w 23"/>
                    <a:gd name="T31" fmla="*/ 70 h 54"/>
                    <a:gd name="T32" fmla="*/ 12 w 23"/>
                    <a:gd name="T33" fmla="*/ 52 h 54"/>
                    <a:gd name="T34" fmla="*/ 20 w 23"/>
                    <a:gd name="T35" fmla="*/ 60 h 54"/>
                    <a:gd name="T36" fmla="*/ 12 w 23"/>
                    <a:gd name="T37" fmla="*/ 73 h 54"/>
                    <a:gd name="T38" fmla="*/ 18 w 23"/>
                    <a:gd name="T39" fmla="*/ 83 h 5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23" h="54">
                      <a:moveTo>
                        <a:pt x="11" y="50"/>
                      </a:moveTo>
                      <a:cubicBezTo>
                        <a:pt x="11" y="50"/>
                        <a:pt x="15" y="54"/>
                        <a:pt x="15" y="50"/>
                      </a:cubicBezTo>
                      <a:cubicBezTo>
                        <a:pt x="15" y="46"/>
                        <a:pt x="18" y="42"/>
                        <a:pt x="18" y="42"/>
                      </a:cubicBezTo>
                      <a:cubicBezTo>
                        <a:pt x="18" y="42"/>
                        <a:pt x="17" y="42"/>
                        <a:pt x="20" y="38"/>
                      </a:cubicBezTo>
                      <a:cubicBezTo>
                        <a:pt x="23" y="35"/>
                        <a:pt x="20" y="32"/>
                        <a:pt x="20" y="32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3"/>
                        <a:pt x="21" y="23"/>
                        <a:pt x="21" y="23"/>
                      </a:cubicBezTo>
                      <a:cubicBezTo>
                        <a:pt x="23" y="15"/>
                        <a:pt x="23" y="15"/>
                        <a:pt x="23" y="15"/>
                      </a:cubicBezTo>
                      <a:cubicBezTo>
                        <a:pt x="23" y="10"/>
                        <a:pt x="23" y="10"/>
                        <a:pt x="23" y="10"/>
                      </a:cubicBezTo>
                      <a:cubicBezTo>
                        <a:pt x="23" y="10"/>
                        <a:pt x="18" y="0"/>
                        <a:pt x="18" y="5"/>
                      </a:cubicBezTo>
                      <a:cubicBezTo>
                        <a:pt x="18" y="10"/>
                        <a:pt x="13" y="10"/>
                        <a:pt x="13" y="10"/>
                      </a:cubicBezTo>
                      <a:cubicBezTo>
                        <a:pt x="13" y="19"/>
                        <a:pt x="13" y="19"/>
                        <a:pt x="13" y="19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2" y="24"/>
                        <a:pt x="2" y="24"/>
                        <a:pt x="2" y="24"/>
                      </a:cubicBezTo>
                      <a:cubicBezTo>
                        <a:pt x="2" y="24"/>
                        <a:pt x="2" y="30"/>
                        <a:pt x="2" y="33"/>
                      </a:cubicBezTo>
                      <a:cubicBezTo>
                        <a:pt x="2" y="37"/>
                        <a:pt x="0" y="49"/>
                        <a:pt x="2" y="42"/>
                      </a:cubicBezTo>
                      <a:cubicBezTo>
                        <a:pt x="4" y="35"/>
                        <a:pt x="7" y="31"/>
                        <a:pt x="7" y="31"/>
                      </a:cubicBezTo>
                      <a:cubicBezTo>
                        <a:pt x="7" y="31"/>
                        <a:pt x="17" y="31"/>
                        <a:pt x="12" y="36"/>
                      </a:cubicBezTo>
                      <a:cubicBezTo>
                        <a:pt x="7" y="41"/>
                        <a:pt x="7" y="44"/>
                        <a:pt x="7" y="44"/>
                      </a:cubicBezTo>
                      <a:lnTo>
                        <a:pt x="11" y="5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5" name="Freeform 97">
                  <a:extLst>
                    <a:ext uri="{FF2B5EF4-FFF2-40B4-BE49-F238E27FC236}">
                      <a16:creationId xmlns:a16="http://schemas.microsoft.com/office/drawing/2014/main" id="{371252C3-1C5F-4BCF-B33F-2AFC8069B82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94" y="1757"/>
                  <a:ext cx="26" cy="36"/>
                </a:xfrm>
                <a:custGeom>
                  <a:avLst/>
                  <a:gdLst>
                    <a:gd name="T0" fmla="*/ 8 w 16"/>
                    <a:gd name="T1" fmla="*/ 29 h 21"/>
                    <a:gd name="T2" fmla="*/ 15 w 16"/>
                    <a:gd name="T3" fmla="*/ 29 h 21"/>
                    <a:gd name="T4" fmla="*/ 20 w 16"/>
                    <a:gd name="T5" fmla="*/ 24 h 21"/>
                    <a:gd name="T6" fmla="*/ 26 w 16"/>
                    <a:gd name="T7" fmla="*/ 17 h 21"/>
                    <a:gd name="T8" fmla="*/ 23 w 16"/>
                    <a:gd name="T9" fmla="*/ 7 h 21"/>
                    <a:gd name="T10" fmla="*/ 15 w 16"/>
                    <a:gd name="T11" fmla="*/ 0 h 21"/>
                    <a:gd name="T12" fmla="*/ 11 w 16"/>
                    <a:gd name="T13" fmla="*/ 14 h 21"/>
                    <a:gd name="T14" fmla="*/ 5 w 16"/>
                    <a:gd name="T15" fmla="*/ 21 h 21"/>
                    <a:gd name="T16" fmla="*/ 0 w 16"/>
                    <a:gd name="T17" fmla="*/ 31 h 21"/>
                    <a:gd name="T18" fmla="*/ 8 w 16"/>
                    <a:gd name="T19" fmla="*/ 29 h 21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6" h="21">
                      <a:moveTo>
                        <a:pt x="5" y="17"/>
                      </a:moveTo>
                      <a:cubicBezTo>
                        <a:pt x="5" y="17"/>
                        <a:pt x="9" y="21"/>
                        <a:pt x="9" y="17"/>
                      </a:cubicBezTo>
                      <a:cubicBezTo>
                        <a:pt x="9" y="14"/>
                        <a:pt x="12" y="14"/>
                        <a:pt x="12" y="14"/>
                      </a:cubicBezTo>
                      <a:cubicBezTo>
                        <a:pt x="16" y="10"/>
                        <a:pt x="16" y="10"/>
                        <a:pt x="16" y="10"/>
                      </a:cubicBezTo>
                      <a:cubicBezTo>
                        <a:pt x="14" y="4"/>
                        <a:pt x="14" y="4"/>
                        <a:pt x="14" y="4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3" y="9"/>
                        <a:pt x="3" y="12"/>
                      </a:cubicBezTo>
                      <a:cubicBezTo>
                        <a:pt x="3" y="15"/>
                        <a:pt x="0" y="18"/>
                        <a:pt x="0" y="18"/>
                      </a:cubicBezTo>
                      <a:lnTo>
                        <a:pt x="5" y="17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6" name="Freeform 98">
                  <a:extLst>
                    <a:ext uri="{FF2B5EF4-FFF2-40B4-BE49-F238E27FC236}">
                      <a16:creationId xmlns:a16="http://schemas.microsoft.com/office/drawing/2014/main" id="{D799D845-A1BE-47DC-9F8C-ECB8BEA194D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94" y="1700"/>
                  <a:ext cx="28" cy="45"/>
                </a:xfrm>
                <a:custGeom>
                  <a:avLst/>
                  <a:gdLst>
                    <a:gd name="T0" fmla="*/ 0 w 17"/>
                    <a:gd name="T1" fmla="*/ 42 h 27"/>
                    <a:gd name="T2" fmla="*/ 18 w 17"/>
                    <a:gd name="T3" fmla="*/ 38 h 27"/>
                    <a:gd name="T4" fmla="*/ 25 w 17"/>
                    <a:gd name="T5" fmla="*/ 38 h 27"/>
                    <a:gd name="T6" fmla="*/ 25 w 17"/>
                    <a:gd name="T7" fmla="*/ 23 h 27"/>
                    <a:gd name="T8" fmla="*/ 28 w 17"/>
                    <a:gd name="T9" fmla="*/ 13 h 27"/>
                    <a:gd name="T10" fmla="*/ 28 w 17"/>
                    <a:gd name="T11" fmla="*/ 7 h 27"/>
                    <a:gd name="T12" fmla="*/ 28 w 17"/>
                    <a:gd name="T13" fmla="*/ 0 h 27"/>
                    <a:gd name="T14" fmla="*/ 20 w 17"/>
                    <a:gd name="T15" fmla="*/ 0 h 27"/>
                    <a:gd name="T16" fmla="*/ 20 w 17"/>
                    <a:gd name="T17" fmla="*/ 7 h 27"/>
                    <a:gd name="T18" fmla="*/ 13 w 17"/>
                    <a:gd name="T19" fmla="*/ 13 h 27"/>
                    <a:gd name="T20" fmla="*/ 13 w 17"/>
                    <a:gd name="T21" fmla="*/ 22 h 27"/>
                    <a:gd name="T22" fmla="*/ 8 w 17"/>
                    <a:gd name="T23" fmla="*/ 27 h 27"/>
                    <a:gd name="T24" fmla="*/ 3 w 17"/>
                    <a:gd name="T25" fmla="*/ 33 h 27"/>
                    <a:gd name="T26" fmla="*/ 0 w 17"/>
                    <a:gd name="T27" fmla="*/ 42 h 2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7" h="27">
                      <a:moveTo>
                        <a:pt x="0" y="25"/>
                      </a:moveTo>
                      <a:cubicBezTo>
                        <a:pt x="11" y="23"/>
                        <a:pt x="11" y="23"/>
                        <a:pt x="11" y="23"/>
                      </a:cubicBezTo>
                      <a:cubicBezTo>
                        <a:pt x="11" y="23"/>
                        <a:pt x="15" y="27"/>
                        <a:pt x="15" y="23"/>
                      </a:cubicBezTo>
                      <a:cubicBezTo>
                        <a:pt x="15" y="20"/>
                        <a:pt x="12" y="16"/>
                        <a:pt x="15" y="14"/>
                      </a:cubicBezTo>
                      <a:cubicBezTo>
                        <a:pt x="17" y="12"/>
                        <a:pt x="17" y="8"/>
                        <a:pt x="17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8" y="13"/>
                        <a:pt x="8" y="13"/>
                        <a:pt x="8" y="13"/>
                      </a:cubicBezTo>
                      <a:cubicBezTo>
                        <a:pt x="5" y="16"/>
                        <a:pt x="5" y="16"/>
                        <a:pt x="5" y="16"/>
                      </a:cubicBezTo>
                      <a:cubicBezTo>
                        <a:pt x="2" y="20"/>
                        <a:pt x="2" y="20"/>
                        <a:pt x="2" y="20"/>
                      </a:cubicBezTo>
                      <a:lnTo>
                        <a:pt x="0" y="25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7" name="Freeform 99">
                  <a:extLst>
                    <a:ext uri="{FF2B5EF4-FFF2-40B4-BE49-F238E27FC236}">
                      <a16:creationId xmlns:a16="http://schemas.microsoft.com/office/drawing/2014/main" id="{4177EE73-137B-4171-9BA0-1025BE883DE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63" y="1660"/>
                  <a:ext cx="41" cy="54"/>
                </a:xfrm>
                <a:custGeom>
                  <a:avLst/>
                  <a:gdLst>
                    <a:gd name="T0" fmla="*/ 31 w 24"/>
                    <a:gd name="T1" fmla="*/ 54 h 32"/>
                    <a:gd name="T2" fmla="*/ 36 w 24"/>
                    <a:gd name="T3" fmla="*/ 44 h 32"/>
                    <a:gd name="T4" fmla="*/ 36 w 24"/>
                    <a:gd name="T5" fmla="*/ 37 h 32"/>
                    <a:gd name="T6" fmla="*/ 36 w 24"/>
                    <a:gd name="T7" fmla="*/ 27 h 32"/>
                    <a:gd name="T8" fmla="*/ 26 w 24"/>
                    <a:gd name="T9" fmla="*/ 17 h 32"/>
                    <a:gd name="T10" fmla="*/ 17 w 24"/>
                    <a:gd name="T11" fmla="*/ 10 h 32"/>
                    <a:gd name="T12" fmla="*/ 10 w 24"/>
                    <a:gd name="T13" fmla="*/ 10 h 32"/>
                    <a:gd name="T14" fmla="*/ 0 w 24"/>
                    <a:gd name="T15" fmla="*/ 10 h 32"/>
                    <a:gd name="T16" fmla="*/ 0 w 24"/>
                    <a:gd name="T17" fmla="*/ 35 h 32"/>
                    <a:gd name="T18" fmla="*/ 7 w 24"/>
                    <a:gd name="T19" fmla="*/ 42 h 32"/>
                    <a:gd name="T20" fmla="*/ 15 w 24"/>
                    <a:gd name="T21" fmla="*/ 51 h 32"/>
                    <a:gd name="T22" fmla="*/ 31 w 24"/>
                    <a:gd name="T23" fmla="*/ 54 h 3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24" h="32">
                      <a:moveTo>
                        <a:pt x="18" y="32"/>
                      </a:moveTo>
                      <a:cubicBezTo>
                        <a:pt x="18" y="29"/>
                        <a:pt x="21" y="26"/>
                        <a:pt x="21" y="26"/>
                      </a:cubicBezTo>
                      <a:cubicBezTo>
                        <a:pt x="21" y="26"/>
                        <a:pt x="21" y="28"/>
                        <a:pt x="21" y="22"/>
                      </a:cubicBezTo>
                      <a:cubicBezTo>
                        <a:pt x="21" y="16"/>
                        <a:pt x="24" y="19"/>
                        <a:pt x="21" y="16"/>
                      </a:cubicBezTo>
                      <a:cubicBezTo>
                        <a:pt x="18" y="14"/>
                        <a:pt x="15" y="10"/>
                        <a:pt x="15" y="10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6" y="6"/>
                        <a:pt x="0" y="0"/>
                        <a:pt x="0" y="6"/>
                      </a:cubicBezTo>
                      <a:cubicBezTo>
                        <a:pt x="0" y="11"/>
                        <a:pt x="0" y="21"/>
                        <a:pt x="0" y="21"/>
                      </a:cubicBezTo>
                      <a:cubicBezTo>
                        <a:pt x="4" y="25"/>
                        <a:pt x="4" y="25"/>
                        <a:pt x="4" y="25"/>
                      </a:cubicBezTo>
                      <a:cubicBezTo>
                        <a:pt x="9" y="30"/>
                        <a:pt x="9" y="30"/>
                        <a:pt x="9" y="30"/>
                      </a:cubicBezTo>
                      <a:lnTo>
                        <a:pt x="18" y="32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8" name="Freeform 100">
                  <a:extLst>
                    <a:ext uri="{FF2B5EF4-FFF2-40B4-BE49-F238E27FC236}">
                      <a16:creationId xmlns:a16="http://schemas.microsoft.com/office/drawing/2014/main" id="{022ACB53-047D-44BA-A933-F7B73807684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58" y="1707"/>
                  <a:ext cx="27" cy="69"/>
                </a:xfrm>
                <a:custGeom>
                  <a:avLst/>
                  <a:gdLst>
                    <a:gd name="T0" fmla="*/ 5 w 16"/>
                    <a:gd name="T1" fmla="*/ 69 h 41"/>
                    <a:gd name="T2" fmla="*/ 19 w 16"/>
                    <a:gd name="T3" fmla="*/ 56 h 41"/>
                    <a:gd name="T4" fmla="*/ 19 w 16"/>
                    <a:gd name="T5" fmla="*/ 40 h 41"/>
                    <a:gd name="T6" fmla="*/ 19 w 16"/>
                    <a:gd name="T7" fmla="*/ 32 h 41"/>
                    <a:gd name="T8" fmla="*/ 19 w 16"/>
                    <a:gd name="T9" fmla="*/ 24 h 41"/>
                    <a:gd name="T10" fmla="*/ 27 w 16"/>
                    <a:gd name="T11" fmla="*/ 15 h 41"/>
                    <a:gd name="T12" fmla="*/ 19 w 16"/>
                    <a:gd name="T13" fmla="*/ 7 h 41"/>
                    <a:gd name="T14" fmla="*/ 10 w 16"/>
                    <a:gd name="T15" fmla="*/ 5 h 41"/>
                    <a:gd name="T16" fmla="*/ 5 w 16"/>
                    <a:gd name="T17" fmla="*/ 10 h 41"/>
                    <a:gd name="T18" fmla="*/ 5 w 16"/>
                    <a:gd name="T19" fmla="*/ 19 h 41"/>
                    <a:gd name="T20" fmla="*/ 5 w 16"/>
                    <a:gd name="T21" fmla="*/ 37 h 41"/>
                    <a:gd name="T22" fmla="*/ 0 w 16"/>
                    <a:gd name="T23" fmla="*/ 42 h 41"/>
                    <a:gd name="T24" fmla="*/ 0 w 16"/>
                    <a:gd name="T25" fmla="*/ 57 h 41"/>
                    <a:gd name="T26" fmla="*/ 5 w 16"/>
                    <a:gd name="T27" fmla="*/ 69 h 4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6" h="41">
                      <a:moveTo>
                        <a:pt x="3" y="41"/>
                      </a:move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11" y="24"/>
                        <a:pt x="11" y="24"/>
                        <a:pt x="11" y="24"/>
                      </a:cubicBezTo>
                      <a:cubicBezTo>
                        <a:pt x="11" y="19"/>
                        <a:pt x="11" y="19"/>
                        <a:pt x="11" y="19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6" y="9"/>
                        <a:pt x="16" y="9"/>
                        <a:pt x="16" y="9"/>
                      </a:cubicBezTo>
                      <a:cubicBezTo>
                        <a:pt x="11" y="4"/>
                        <a:pt x="11" y="4"/>
                        <a:pt x="11" y="4"/>
                      </a:cubicBezTo>
                      <a:cubicBezTo>
                        <a:pt x="11" y="4"/>
                        <a:pt x="9" y="0"/>
                        <a:pt x="6" y="3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6"/>
                        <a:pt x="3" y="6"/>
                        <a:pt x="3" y="11"/>
                      </a:cubicBezTo>
                      <a:cubicBezTo>
                        <a:pt x="3" y="15"/>
                        <a:pt x="3" y="22"/>
                        <a:pt x="3" y="2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34"/>
                        <a:pt x="0" y="34"/>
                        <a:pt x="0" y="34"/>
                      </a:cubicBezTo>
                      <a:lnTo>
                        <a:pt x="3" y="41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9" name="Freeform 101">
                  <a:extLst>
                    <a:ext uri="{FF2B5EF4-FFF2-40B4-BE49-F238E27FC236}">
                      <a16:creationId xmlns:a16="http://schemas.microsoft.com/office/drawing/2014/main" id="{DABBD7EF-01F4-4BCD-BF2C-2887BEC4110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394" y="1088"/>
                  <a:ext cx="37" cy="32"/>
                </a:xfrm>
                <a:custGeom>
                  <a:avLst/>
                  <a:gdLst>
                    <a:gd name="T0" fmla="*/ 13 w 22"/>
                    <a:gd name="T1" fmla="*/ 32 h 19"/>
                    <a:gd name="T2" fmla="*/ 29 w 22"/>
                    <a:gd name="T3" fmla="*/ 32 h 19"/>
                    <a:gd name="T4" fmla="*/ 29 w 22"/>
                    <a:gd name="T5" fmla="*/ 15 h 19"/>
                    <a:gd name="T6" fmla="*/ 7 w 22"/>
                    <a:gd name="T7" fmla="*/ 7 h 19"/>
                    <a:gd name="T8" fmla="*/ 2 w 22"/>
                    <a:gd name="T9" fmla="*/ 0 h 19"/>
                    <a:gd name="T10" fmla="*/ 0 w 22"/>
                    <a:gd name="T11" fmla="*/ 15 h 19"/>
                    <a:gd name="T12" fmla="*/ 0 w 22"/>
                    <a:gd name="T13" fmla="*/ 24 h 19"/>
                    <a:gd name="T14" fmla="*/ 13 w 22"/>
                    <a:gd name="T15" fmla="*/ 32 h 1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2" h="19">
                      <a:moveTo>
                        <a:pt x="8" y="19"/>
                      </a:moveTo>
                      <a:cubicBezTo>
                        <a:pt x="17" y="19"/>
                        <a:pt x="17" y="19"/>
                        <a:pt x="17" y="19"/>
                      </a:cubicBezTo>
                      <a:cubicBezTo>
                        <a:pt x="17" y="19"/>
                        <a:pt x="22" y="14"/>
                        <a:pt x="17" y="9"/>
                      </a:cubicBezTo>
                      <a:cubicBezTo>
                        <a:pt x="11" y="4"/>
                        <a:pt x="4" y="4"/>
                        <a:pt x="4" y="4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lnTo>
                        <a:pt x="8" y="19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0" name="Freeform 102">
                  <a:extLst>
                    <a:ext uri="{FF2B5EF4-FFF2-40B4-BE49-F238E27FC236}">
                      <a16:creationId xmlns:a16="http://schemas.microsoft.com/office/drawing/2014/main" id="{1A88E71B-6833-4117-828C-067EAB0F59D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06" y="930"/>
                  <a:ext cx="25" cy="58"/>
                </a:xfrm>
                <a:custGeom>
                  <a:avLst/>
                  <a:gdLst>
                    <a:gd name="T0" fmla="*/ 0 w 15"/>
                    <a:gd name="T1" fmla="*/ 48 h 34"/>
                    <a:gd name="T2" fmla="*/ 15 w 15"/>
                    <a:gd name="T3" fmla="*/ 58 h 34"/>
                    <a:gd name="T4" fmla="*/ 25 w 15"/>
                    <a:gd name="T5" fmla="*/ 58 h 34"/>
                    <a:gd name="T6" fmla="*/ 25 w 15"/>
                    <a:gd name="T7" fmla="*/ 49 h 34"/>
                    <a:gd name="T8" fmla="*/ 25 w 15"/>
                    <a:gd name="T9" fmla="*/ 38 h 34"/>
                    <a:gd name="T10" fmla="*/ 25 w 15"/>
                    <a:gd name="T11" fmla="*/ 26 h 34"/>
                    <a:gd name="T12" fmla="*/ 20 w 15"/>
                    <a:gd name="T13" fmla="*/ 10 h 34"/>
                    <a:gd name="T14" fmla="*/ 20 w 15"/>
                    <a:gd name="T15" fmla="*/ 2 h 34"/>
                    <a:gd name="T16" fmla="*/ 0 w 15"/>
                    <a:gd name="T17" fmla="*/ 0 h 34"/>
                    <a:gd name="T18" fmla="*/ 0 w 15"/>
                    <a:gd name="T19" fmla="*/ 10 h 34"/>
                    <a:gd name="T20" fmla="*/ 0 w 15"/>
                    <a:gd name="T21" fmla="*/ 20 h 34"/>
                    <a:gd name="T22" fmla="*/ 10 w 15"/>
                    <a:gd name="T23" fmla="*/ 29 h 34"/>
                    <a:gd name="T24" fmla="*/ 0 w 15"/>
                    <a:gd name="T25" fmla="*/ 48 h 3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15" h="34">
                      <a:moveTo>
                        <a:pt x="0" y="28"/>
                      </a:moveTo>
                      <a:cubicBezTo>
                        <a:pt x="9" y="34"/>
                        <a:pt x="9" y="34"/>
                        <a:pt x="9" y="34"/>
                      </a:cubicBezTo>
                      <a:cubicBezTo>
                        <a:pt x="15" y="34"/>
                        <a:pt x="15" y="34"/>
                        <a:pt x="15" y="34"/>
                      </a:cubicBezTo>
                      <a:cubicBezTo>
                        <a:pt x="15" y="34"/>
                        <a:pt x="15" y="33"/>
                        <a:pt x="15" y="29"/>
                      </a:cubicBezTo>
                      <a:cubicBezTo>
                        <a:pt x="15" y="26"/>
                        <a:pt x="15" y="22"/>
                        <a:pt x="15" y="22"/>
                      </a:cubicBezTo>
                      <a:cubicBezTo>
                        <a:pt x="15" y="15"/>
                        <a:pt x="15" y="15"/>
                        <a:pt x="15" y="15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6" y="17"/>
                        <a:pt x="6" y="17"/>
                        <a:pt x="6" y="17"/>
                      </a:cubicBezTo>
                      <a:lnTo>
                        <a:pt x="0" y="28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  <p:grpSp>
          <p:nvGrpSpPr>
            <p:cNvPr id="15" name="Group 278">
              <a:extLst>
                <a:ext uri="{FF2B5EF4-FFF2-40B4-BE49-F238E27FC236}">
                  <a16:creationId xmlns:a16="http://schemas.microsoft.com/office/drawing/2014/main" id="{816D81A4-992F-4EBA-9CC7-689C9E52056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153963" y="2028400"/>
              <a:ext cx="6899358" cy="4264116"/>
              <a:chOff x="987" y="635"/>
              <a:chExt cx="4134" cy="2555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16" name="Freeform 31">
                <a:extLst>
                  <a:ext uri="{FF2B5EF4-FFF2-40B4-BE49-F238E27FC236}">
                    <a16:creationId xmlns:a16="http://schemas.microsoft.com/office/drawing/2014/main" id="{68985E2E-32A6-4A7C-8EEB-CD3283F971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83" y="1054"/>
                <a:ext cx="139" cy="250"/>
              </a:xfrm>
              <a:custGeom>
                <a:avLst/>
                <a:gdLst>
                  <a:gd name="T0" fmla="*/ 0 w 138"/>
                  <a:gd name="T1" fmla="*/ 32 h 248"/>
                  <a:gd name="T2" fmla="*/ 6 w 138"/>
                  <a:gd name="T3" fmla="*/ 42 h 248"/>
                  <a:gd name="T4" fmla="*/ 4 w 138"/>
                  <a:gd name="T5" fmla="*/ 46 h 248"/>
                  <a:gd name="T6" fmla="*/ 8 w 138"/>
                  <a:gd name="T7" fmla="*/ 50 h 248"/>
                  <a:gd name="T8" fmla="*/ 8 w 138"/>
                  <a:gd name="T9" fmla="*/ 54 h 248"/>
                  <a:gd name="T10" fmla="*/ 20 w 138"/>
                  <a:gd name="T11" fmla="*/ 83 h 248"/>
                  <a:gd name="T12" fmla="*/ 24 w 138"/>
                  <a:gd name="T13" fmla="*/ 103 h 248"/>
                  <a:gd name="T14" fmla="*/ 18 w 138"/>
                  <a:gd name="T15" fmla="*/ 115 h 248"/>
                  <a:gd name="T16" fmla="*/ 20 w 138"/>
                  <a:gd name="T17" fmla="*/ 125 h 248"/>
                  <a:gd name="T18" fmla="*/ 32 w 138"/>
                  <a:gd name="T19" fmla="*/ 153 h 248"/>
                  <a:gd name="T20" fmla="*/ 30 w 138"/>
                  <a:gd name="T21" fmla="*/ 165 h 248"/>
                  <a:gd name="T22" fmla="*/ 32 w 138"/>
                  <a:gd name="T23" fmla="*/ 171 h 248"/>
                  <a:gd name="T24" fmla="*/ 34 w 138"/>
                  <a:gd name="T25" fmla="*/ 169 h 248"/>
                  <a:gd name="T26" fmla="*/ 34 w 138"/>
                  <a:gd name="T27" fmla="*/ 167 h 248"/>
                  <a:gd name="T28" fmla="*/ 38 w 138"/>
                  <a:gd name="T29" fmla="*/ 165 h 248"/>
                  <a:gd name="T30" fmla="*/ 46 w 138"/>
                  <a:gd name="T31" fmla="*/ 179 h 248"/>
                  <a:gd name="T32" fmla="*/ 50 w 138"/>
                  <a:gd name="T33" fmla="*/ 204 h 248"/>
                  <a:gd name="T34" fmla="*/ 50 w 138"/>
                  <a:gd name="T35" fmla="*/ 218 h 248"/>
                  <a:gd name="T36" fmla="*/ 56 w 138"/>
                  <a:gd name="T37" fmla="*/ 234 h 248"/>
                  <a:gd name="T38" fmla="*/ 64 w 138"/>
                  <a:gd name="T39" fmla="*/ 250 h 248"/>
                  <a:gd name="T40" fmla="*/ 117 w 138"/>
                  <a:gd name="T41" fmla="*/ 238 h 248"/>
                  <a:gd name="T42" fmla="*/ 117 w 138"/>
                  <a:gd name="T43" fmla="*/ 234 h 248"/>
                  <a:gd name="T44" fmla="*/ 111 w 138"/>
                  <a:gd name="T45" fmla="*/ 228 h 248"/>
                  <a:gd name="T46" fmla="*/ 111 w 138"/>
                  <a:gd name="T47" fmla="*/ 218 h 248"/>
                  <a:gd name="T48" fmla="*/ 113 w 138"/>
                  <a:gd name="T49" fmla="*/ 214 h 248"/>
                  <a:gd name="T50" fmla="*/ 111 w 138"/>
                  <a:gd name="T51" fmla="*/ 204 h 248"/>
                  <a:gd name="T52" fmla="*/ 107 w 138"/>
                  <a:gd name="T53" fmla="*/ 163 h 248"/>
                  <a:gd name="T54" fmla="*/ 107 w 138"/>
                  <a:gd name="T55" fmla="*/ 151 h 248"/>
                  <a:gd name="T56" fmla="*/ 111 w 138"/>
                  <a:gd name="T57" fmla="*/ 127 h 248"/>
                  <a:gd name="T58" fmla="*/ 115 w 138"/>
                  <a:gd name="T59" fmla="*/ 111 h 248"/>
                  <a:gd name="T60" fmla="*/ 117 w 138"/>
                  <a:gd name="T61" fmla="*/ 101 h 248"/>
                  <a:gd name="T62" fmla="*/ 111 w 138"/>
                  <a:gd name="T63" fmla="*/ 91 h 248"/>
                  <a:gd name="T64" fmla="*/ 111 w 138"/>
                  <a:gd name="T65" fmla="*/ 83 h 248"/>
                  <a:gd name="T66" fmla="*/ 115 w 138"/>
                  <a:gd name="T67" fmla="*/ 77 h 248"/>
                  <a:gd name="T68" fmla="*/ 131 w 138"/>
                  <a:gd name="T69" fmla="*/ 65 h 248"/>
                  <a:gd name="T70" fmla="*/ 139 w 138"/>
                  <a:gd name="T71" fmla="*/ 42 h 248"/>
                  <a:gd name="T72" fmla="*/ 131 w 138"/>
                  <a:gd name="T73" fmla="*/ 28 h 248"/>
                  <a:gd name="T74" fmla="*/ 129 w 138"/>
                  <a:gd name="T75" fmla="*/ 22 h 248"/>
                  <a:gd name="T76" fmla="*/ 133 w 138"/>
                  <a:gd name="T77" fmla="*/ 18 h 248"/>
                  <a:gd name="T78" fmla="*/ 131 w 138"/>
                  <a:gd name="T79" fmla="*/ 14 h 248"/>
                  <a:gd name="T80" fmla="*/ 127 w 138"/>
                  <a:gd name="T81" fmla="*/ 0 h 248"/>
                  <a:gd name="T82" fmla="*/ 0 w 138"/>
                  <a:gd name="T83" fmla="*/ 32 h 248"/>
                  <a:gd name="T84" fmla="*/ 0 w 138"/>
                  <a:gd name="T85" fmla="*/ 32 h 24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38" h="248">
                    <a:moveTo>
                      <a:pt x="0" y="32"/>
                    </a:moveTo>
                    <a:lnTo>
                      <a:pt x="6" y="42"/>
                    </a:lnTo>
                    <a:lnTo>
                      <a:pt x="4" y="46"/>
                    </a:lnTo>
                    <a:lnTo>
                      <a:pt x="8" y="50"/>
                    </a:lnTo>
                    <a:lnTo>
                      <a:pt x="8" y="54"/>
                    </a:lnTo>
                    <a:lnTo>
                      <a:pt x="20" y="82"/>
                    </a:lnTo>
                    <a:lnTo>
                      <a:pt x="24" y="102"/>
                    </a:lnTo>
                    <a:lnTo>
                      <a:pt x="18" y="114"/>
                    </a:lnTo>
                    <a:lnTo>
                      <a:pt x="20" y="124"/>
                    </a:lnTo>
                    <a:lnTo>
                      <a:pt x="32" y="152"/>
                    </a:lnTo>
                    <a:lnTo>
                      <a:pt x="30" y="164"/>
                    </a:lnTo>
                    <a:lnTo>
                      <a:pt x="32" y="170"/>
                    </a:lnTo>
                    <a:lnTo>
                      <a:pt x="34" y="168"/>
                    </a:lnTo>
                    <a:lnTo>
                      <a:pt x="34" y="166"/>
                    </a:lnTo>
                    <a:lnTo>
                      <a:pt x="38" y="164"/>
                    </a:lnTo>
                    <a:lnTo>
                      <a:pt x="46" y="178"/>
                    </a:lnTo>
                    <a:lnTo>
                      <a:pt x="50" y="202"/>
                    </a:lnTo>
                    <a:lnTo>
                      <a:pt x="50" y="216"/>
                    </a:lnTo>
                    <a:lnTo>
                      <a:pt x="56" y="232"/>
                    </a:lnTo>
                    <a:lnTo>
                      <a:pt x="64" y="248"/>
                    </a:lnTo>
                    <a:lnTo>
                      <a:pt x="116" y="236"/>
                    </a:lnTo>
                    <a:lnTo>
                      <a:pt x="116" y="232"/>
                    </a:lnTo>
                    <a:lnTo>
                      <a:pt x="110" y="226"/>
                    </a:lnTo>
                    <a:lnTo>
                      <a:pt x="110" y="216"/>
                    </a:lnTo>
                    <a:lnTo>
                      <a:pt x="112" y="212"/>
                    </a:lnTo>
                    <a:lnTo>
                      <a:pt x="110" y="202"/>
                    </a:lnTo>
                    <a:lnTo>
                      <a:pt x="106" y="162"/>
                    </a:lnTo>
                    <a:lnTo>
                      <a:pt x="106" y="150"/>
                    </a:lnTo>
                    <a:lnTo>
                      <a:pt x="110" y="126"/>
                    </a:lnTo>
                    <a:lnTo>
                      <a:pt x="114" y="110"/>
                    </a:lnTo>
                    <a:lnTo>
                      <a:pt x="116" y="100"/>
                    </a:lnTo>
                    <a:lnTo>
                      <a:pt x="110" y="90"/>
                    </a:lnTo>
                    <a:lnTo>
                      <a:pt x="110" y="82"/>
                    </a:lnTo>
                    <a:lnTo>
                      <a:pt x="114" y="76"/>
                    </a:lnTo>
                    <a:lnTo>
                      <a:pt x="130" y="64"/>
                    </a:lnTo>
                    <a:lnTo>
                      <a:pt x="138" y="42"/>
                    </a:lnTo>
                    <a:lnTo>
                      <a:pt x="130" y="28"/>
                    </a:lnTo>
                    <a:lnTo>
                      <a:pt x="128" y="22"/>
                    </a:lnTo>
                    <a:lnTo>
                      <a:pt x="132" y="18"/>
                    </a:lnTo>
                    <a:lnTo>
                      <a:pt x="130" y="14"/>
                    </a:lnTo>
                    <a:lnTo>
                      <a:pt x="126" y="0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A37A864F-2CF9-4735-ACBD-4A878ED89A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2" y="635"/>
                <a:ext cx="529" cy="385"/>
              </a:xfrm>
              <a:custGeom>
                <a:avLst/>
                <a:gdLst>
                  <a:gd name="T0" fmla="*/ 6 w 526"/>
                  <a:gd name="T1" fmla="*/ 233 h 384"/>
                  <a:gd name="T2" fmla="*/ 0 w 526"/>
                  <a:gd name="T3" fmla="*/ 233 h 384"/>
                  <a:gd name="T4" fmla="*/ 4 w 526"/>
                  <a:gd name="T5" fmla="*/ 217 h 384"/>
                  <a:gd name="T6" fmla="*/ 6 w 526"/>
                  <a:gd name="T7" fmla="*/ 207 h 384"/>
                  <a:gd name="T8" fmla="*/ 8 w 526"/>
                  <a:gd name="T9" fmla="*/ 203 h 384"/>
                  <a:gd name="T10" fmla="*/ 12 w 526"/>
                  <a:gd name="T11" fmla="*/ 211 h 384"/>
                  <a:gd name="T12" fmla="*/ 10 w 526"/>
                  <a:gd name="T13" fmla="*/ 217 h 384"/>
                  <a:gd name="T14" fmla="*/ 20 w 526"/>
                  <a:gd name="T15" fmla="*/ 211 h 384"/>
                  <a:gd name="T16" fmla="*/ 18 w 526"/>
                  <a:gd name="T17" fmla="*/ 203 h 384"/>
                  <a:gd name="T18" fmla="*/ 20 w 526"/>
                  <a:gd name="T19" fmla="*/ 193 h 384"/>
                  <a:gd name="T20" fmla="*/ 14 w 526"/>
                  <a:gd name="T21" fmla="*/ 176 h 384"/>
                  <a:gd name="T22" fmla="*/ 20 w 526"/>
                  <a:gd name="T23" fmla="*/ 176 h 384"/>
                  <a:gd name="T24" fmla="*/ 32 w 526"/>
                  <a:gd name="T25" fmla="*/ 170 h 384"/>
                  <a:gd name="T26" fmla="*/ 24 w 526"/>
                  <a:gd name="T27" fmla="*/ 162 h 384"/>
                  <a:gd name="T28" fmla="*/ 16 w 526"/>
                  <a:gd name="T29" fmla="*/ 166 h 384"/>
                  <a:gd name="T30" fmla="*/ 16 w 526"/>
                  <a:gd name="T31" fmla="*/ 148 h 384"/>
                  <a:gd name="T32" fmla="*/ 18 w 526"/>
                  <a:gd name="T33" fmla="*/ 126 h 384"/>
                  <a:gd name="T34" fmla="*/ 18 w 526"/>
                  <a:gd name="T35" fmla="*/ 98 h 384"/>
                  <a:gd name="T36" fmla="*/ 12 w 526"/>
                  <a:gd name="T37" fmla="*/ 62 h 384"/>
                  <a:gd name="T38" fmla="*/ 14 w 526"/>
                  <a:gd name="T39" fmla="*/ 34 h 384"/>
                  <a:gd name="T40" fmla="*/ 68 w 526"/>
                  <a:gd name="T41" fmla="*/ 54 h 384"/>
                  <a:gd name="T42" fmla="*/ 113 w 526"/>
                  <a:gd name="T43" fmla="*/ 74 h 384"/>
                  <a:gd name="T44" fmla="*/ 135 w 526"/>
                  <a:gd name="T45" fmla="*/ 82 h 384"/>
                  <a:gd name="T46" fmla="*/ 143 w 526"/>
                  <a:gd name="T47" fmla="*/ 88 h 384"/>
                  <a:gd name="T48" fmla="*/ 143 w 526"/>
                  <a:gd name="T49" fmla="*/ 118 h 384"/>
                  <a:gd name="T50" fmla="*/ 131 w 526"/>
                  <a:gd name="T51" fmla="*/ 134 h 384"/>
                  <a:gd name="T52" fmla="*/ 133 w 526"/>
                  <a:gd name="T53" fmla="*/ 148 h 384"/>
                  <a:gd name="T54" fmla="*/ 131 w 526"/>
                  <a:gd name="T55" fmla="*/ 156 h 384"/>
                  <a:gd name="T56" fmla="*/ 135 w 526"/>
                  <a:gd name="T57" fmla="*/ 166 h 384"/>
                  <a:gd name="T58" fmla="*/ 149 w 526"/>
                  <a:gd name="T59" fmla="*/ 138 h 384"/>
                  <a:gd name="T60" fmla="*/ 159 w 526"/>
                  <a:gd name="T61" fmla="*/ 124 h 384"/>
                  <a:gd name="T62" fmla="*/ 171 w 526"/>
                  <a:gd name="T63" fmla="*/ 106 h 384"/>
                  <a:gd name="T64" fmla="*/ 155 w 526"/>
                  <a:gd name="T65" fmla="*/ 58 h 384"/>
                  <a:gd name="T66" fmla="*/ 159 w 526"/>
                  <a:gd name="T67" fmla="*/ 52 h 384"/>
                  <a:gd name="T68" fmla="*/ 171 w 526"/>
                  <a:gd name="T69" fmla="*/ 42 h 384"/>
                  <a:gd name="T70" fmla="*/ 161 w 526"/>
                  <a:gd name="T71" fmla="*/ 26 h 384"/>
                  <a:gd name="T72" fmla="*/ 159 w 526"/>
                  <a:gd name="T73" fmla="*/ 0 h 384"/>
                  <a:gd name="T74" fmla="*/ 364 w 526"/>
                  <a:gd name="T75" fmla="*/ 54 h 384"/>
                  <a:gd name="T76" fmla="*/ 529 w 526"/>
                  <a:gd name="T77" fmla="*/ 92 h 384"/>
                  <a:gd name="T78" fmla="*/ 473 w 526"/>
                  <a:gd name="T79" fmla="*/ 343 h 384"/>
                  <a:gd name="T80" fmla="*/ 469 w 526"/>
                  <a:gd name="T81" fmla="*/ 351 h 384"/>
                  <a:gd name="T82" fmla="*/ 473 w 526"/>
                  <a:gd name="T83" fmla="*/ 359 h 384"/>
                  <a:gd name="T84" fmla="*/ 475 w 526"/>
                  <a:gd name="T85" fmla="*/ 367 h 384"/>
                  <a:gd name="T86" fmla="*/ 469 w 526"/>
                  <a:gd name="T87" fmla="*/ 373 h 384"/>
                  <a:gd name="T88" fmla="*/ 471 w 526"/>
                  <a:gd name="T89" fmla="*/ 385 h 384"/>
                  <a:gd name="T90" fmla="*/ 320 w 526"/>
                  <a:gd name="T91" fmla="*/ 355 h 384"/>
                  <a:gd name="T92" fmla="*/ 306 w 526"/>
                  <a:gd name="T93" fmla="*/ 353 h 384"/>
                  <a:gd name="T94" fmla="*/ 292 w 526"/>
                  <a:gd name="T95" fmla="*/ 351 h 384"/>
                  <a:gd name="T96" fmla="*/ 278 w 526"/>
                  <a:gd name="T97" fmla="*/ 353 h 384"/>
                  <a:gd name="T98" fmla="*/ 257 w 526"/>
                  <a:gd name="T99" fmla="*/ 351 h 384"/>
                  <a:gd name="T100" fmla="*/ 239 w 526"/>
                  <a:gd name="T101" fmla="*/ 357 h 384"/>
                  <a:gd name="T102" fmla="*/ 219 w 526"/>
                  <a:gd name="T103" fmla="*/ 353 h 384"/>
                  <a:gd name="T104" fmla="*/ 177 w 526"/>
                  <a:gd name="T105" fmla="*/ 353 h 384"/>
                  <a:gd name="T106" fmla="*/ 145 w 526"/>
                  <a:gd name="T107" fmla="*/ 335 h 384"/>
                  <a:gd name="T108" fmla="*/ 115 w 526"/>
                  <a:gd name="T109" fmla="*/ 335 h 384"/>
                  <a:gd name="T110" fmla="*/ 70 w 526"/>
                  <a:gd name="T111" fmla="*/ 325 h 384"/>
                  <a:gd name="T112" fmla="*/ 68 w 526"/>
                  <a:gd name="T113" fmla="*/ 291 h 384"/>
                  <a:gd name="T114" fmla="*/ 66 w 526"/>
                  <a:gd name="T115" fmla="*/ 271 h 384"/>
                  <a:gd name="T116" fmla="*/ 40 w 526"/>
                  <a:gd name="T117" fmla="*/ 259 h 384"/>
                  <a:gd name="T118" fmla="*/ 34 w 526"/>
                  <a:gd name="T119" fmla="*/ 249 h 38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526" h="384">
                    <a:moveTo>
                      <a:pt x="20" y="242"/>
                    </a:moveTo>
                    <a:lnTo>
                      <a:pt x="6" y="232"/>
                    </a:lnTo>
                    <a:lnTo>
                      <a:pt x="2" y="232"/>
                    </a:lnTo>
                    <a:lnTo>
                      <a:pt x="0" y="232"/>
                    </a:lnTo>
                    <a:lnTo>
                      <a:pt x="0" y="228"/>
                    </a:lnTo>
                    <a:lnTo>
                      <a:pt x="4" y="216"/>
                    </a:lnTo>
                    <a:lnTo>
                      <a:pt x="6" y="210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8" y="202"/>
                    </a:lnTo>
                    <a:lnTo>
                      <a:pt x="10" y="202"/>
                    </a:lnTo>
                    <a:lnTo>
                      <a:pt x="12" y="210"/>
                    </a:lnTo>
                    <a:lnTo>
                      <a:pt x="10" y="214"/>
                    </a:lnTo>
                    <a:lnTo>
                      <a:pt x="10" y="216"/>
                    </a:lnTo>
                    <a:lnTo>
                      <a:pt x="10" y="218"/>
                    </a:lnTo>
                    <a:lnTo>
                      <a:pt x="20" y="210"/>
                    </a:lnTo>
                    <a:lnTo>
                      <a:pt x="18" y="208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20" y="192"/>
                    </a:lnTo>
                    <a:lnTo>
                      <a:pt x="14" y="190"/>
                    </a:lnTo>
                    <a:lnTo>
                      <a:pt x="14" y="176"/>
                    </a:lnTo>
                    <a:lnTo>
                      <a:pt x="16" y="174"/>
                    </a:lnTo>
                    <a:lnTo>
                      <a:pt x="20" y="176"/>
                    </a:lnTo>
                    <a:lnTo>
                      <a:pt x="22" y="174"/>
                    </a:lnTo>
                    <a:lnTo>
                      <a:pt x="32" y="170"/>
                    </a:lnTo>
                    <a:lnTo>
                      <a:pt x="24" y="164"/>
                    </a:lnTo>
                    <a:lnTo>
                      <a:pt x="24" y="162"/>
                    </a:lnTo>
                    <a:lnTo>
                      <a:pt x="16" y="166"/>
                    </a:lnTo>
                    <a:lnTo>
                      <a:pt x="16" y="154"/>
                    </a:lnTo>
                    <a:lnTo>
                      <a:pt x="16" y="148"/>
                    </a:lnTo>
                    <a:lnTo>
                      <a:pt x="18" y="136"/>
                    </a:lnTo>
                    <a:lnTo>
                      <a:pt x="18" y="126"/>
                    </a:lnTo>
                    <a:lnTo>
                      <a:pt x="16" y="118"/>
                    </a:lnTo>
                    <a:lnTo>
                      <a:pt x="18" y="98"/>
                    </a:lnTo>
                    <a:lnTo>
                      <a:pt x="20" y="90"/>
                    </a:lnTo>
                    <a:lnTo>
                      <a:pt x="12" y="62"/>
                    </a:lnTo>
                    <a:lnTo>
                      <a:pt x="12" y="44"/>
                    </a:lnTo>
                    <a:lnTo>
                      <a:pt x="14" y="34"/>
                    </a:lnTo>
                    <a:lnTo>
                      <a:pt x="18" y="18"/>
                    </a:lnTo>
                    <a:lnTo>
                      <a:pt x="68" y="54"/>
                    </a:lnTo>
                    <a:lnTo>
                      <a:pt x="92" y="68"/>
                    </a:lnTo>
                    <a:lnTo>
                      <a:pt x="112" y="74"/>
                    </a:lnTo>
                    <a:lnTo>
                      <a:pt x="124" y="82"/>
                    </a:lnTo>
                    <a:lnTo>
                      <a:pt x="134" y="82"/>
                    </a:lnTo>
                    <a:lnTo>
                      <a:pt x="138" y="84"/>
                    </a:lnTo>
                    <a:lnTo>
                      <a:pt x="142" y="88"/>
                    </a:lnTo>
                    <a:lnTo>
                      <a:pt x="144" y="114"/>
                    </a:lnTo>
                    <a:lnTo>
                      <a:pt x="142" y="118"/>
                    </a:lnTo>
                    <a:lnTo>
                      <a:pt x="134" y="124"/>
                    </a:lnTo>
                    <a:lnTo>
                      <a:pt x="130" y="134"/>
                    </a:lnTo>
                    <a:lnTo>
                      <a:pt x="130" y="144"/>
                    </a:lnTo>
                    <a:lnTo>
                      <a:pt x="132" y="148"/>
                    </a:lnTo>
                    <a:lnTo>
                      <a:pt x="132" y="152"/>
                    </a:lnTo>
                    <a:lnTo>
                      <a:pt x="130" y="156"/>
                    </a:lnTo>
                    <a:lnTo>
                      <a:pt x="130" y="162"/>
                    </a:lnTo>
                    <a:lnTo>
                      <a:pt x="134" y="166"/>
                    </a:lnTo>
                    <a:lnTo>
                      <a:pt x="144" y="160"/>
                    </a:lnTo>
                    <a:lnTo>
                      <a:pt x="148" y="138"/>
                    </a:lnTo>
                    <a:lnTo>
                      <a:pt x="154" y="134"/>
                    </a:lnTo>
                    <a:lnTo>
                      <a:pt x="158" y="124"/>
                    </a:lnTo>
                    <a:lnTo>
                      <a:pt x="170" y="110"/>
                    </a:lnTo>
                    <a:lnTo>
                      <a:pt x="170" y="106"/>
                    </a:lnTo>
                    <a:lnTo>
                      <a:pt x="164" y="86"/>
                    </a:lnTo>
                    <a:lnTo>
                      <a:pt x="154" y="58"/>
                    </a:lnTo>
                    <a:lnTo>
                      <a:pt x="154" y="54"/>
                    </a:lnTo>
                    <a:lnTo>
                      <a:pt x="158" y="52"/>
                    </a:lnTo>
                    <a:lnTo>
                      <a:pt x="164" y="54"/>
                    </a:lnTo>
                    <a:lnTo>
                      <a:pt x="170" y="42"/>
                    </a:lnTo>
                    <a:lnTo>
                      <a:pt x="168" y="28"/>
                    </a:lnTo>
                    <a:lnTo>
                      <a:pt x="160" y="26"/>
                    </a:lnTo>
                    <a:lnTo>
                      <a:pt x="158" y="18"/>
                    </a:lnTo>
                    <a:lnTo>
                      <a:pt x="158" y="0"/>
                    </a:lnTo>
                    <a:lnTo>
                      <a:pt x="262" y="28"/>
                    </a:lnTo>
                    <a:lnTo>
                      <a:pt x="362" y="54"/>
                    </a:lnTo>
                    <a:lnTo>
                      <a:pt x="524" y="92"/>
                    </a:lnTo>
                    <a:lnTo>
                      <a:pt x="526" y="92"/>
                    </a:lnTo>
                    <a:lnTo>
                      <a:pt x="470" y="342"/>
                    </a:lnTo>
                    <a:lnTo>
                      <a:pt x="468" y="344"/>
                    </a:lnTo>
                    <a:lnTo>
                      <a:pt x="466" y="350"/>
                    </a:lnTo>
                    <a:lnTo>
                      <a:pt x="468" y="354"/>
                    </a:lnTo>
                    <a:lnTo>
                      <a:pt x="470" y="358"/>
                    </a:lnTo>
                    <a:lnTo>
                      <a:pt x="472" y="362"/>
                    </a:lnTo>
                    <a:lnTo>
                      <a:pt x="472" y="366"/>
                    </a:lnTo>
                    <a:lnTo>
                      <a:pt x="470" y="366"/>
                    </a:lnTo>
                    <a:lnTo>
                      <a:pt x="466" y="372"/>
                    </a:lnTo>
                    <a:lnTo>
                      <a:pt x="466" y="378"/>
                    </a:lnTo>
                    <a:lnTo>
                      <a:pt x="468" y="384"/>
                    </a:lnTo>
                    <a:lnTo>
                      <a:pt x="330" y="352"/>
                    </a:lnTo>
                    <a:lnTo>
                      <a:pt x="318" y="354"/>
                    </a:lnTo>
                    <a:lnTo>
                      <a:pt x="312" y="354"/>
                    </a:lnTo>
                    <a:lnTo>
                      <a:pt x="304" y="352"/>
                    </a:lnTo>
                    <a:lnTo>
                      <a:pt x="296" y="352"/>
                    </a:lnTo>
                    <a:lnTo>
                      <a:pt x="290" y="350"/>
                    </a:lnTo>
                    <a:lnTo>
                      <a:pt x="284" y="350"/>
                    </a:lnTo>
                    <a:lnTo>
                      <a:pt x="276" y="352"/>
                    </a:lnTo>
                    <a:lnTo>
                      <a:pt x="266" y="350"/>
                    </a:lnTo>
                    <a:lnTo>
                      <a:pt x="256" y="350"/>
                    </a:lnTo>
                    <a:lnTo>
                      <a:pt x="246" y="354"/>
                    </a:lnTo>
                    <a:lnTo>
                      <a:pt x="238" y="356"/>
                    </a:lnTo>
                    <a:lnTo>
                      <a:pt x="222" y="354"/>
                    </a:lnTo>
                    <a:lnTo>
                      <a:pt x="218" y="352"/>
                    </a:lnTo>
                    <a:lnTo>
                      <a:pt x="206" y="346"/>
                    </a:lnTo>
                    <a:lnTo>
                      <a:pt x="176" y="352"/>
                    </a:lnTo>
                    <a:lnTo>
                      <a:pt x="170" y="342"/>
                    </a:lnTo>
                    <a:lnTo>
                      <a:pt x="144" y="334"/>
                    </a:lnTo>
                    <a:lnTo>
                      <a:pt x="130" y="332"/>
                    </a:lnTo>
                    <a:lnTo>
                      <a:pt x="114" y="334"/>
                    </a:lnTo>
                    <a:lnTo>
                      <a:pt x="90" y="332"/>
                    </a:lnTo>
                    <a:lnTo>
                      <a:pt x="70" y="324"/>
                    </a:lnTo>
                    <a:lnTo>
                      <a:pt x="66" y="314"/>
                    </a:lnTo>
                    <a:lnTo>
                      <a:pt x="68" y="290"/>
                    </a:lnTo>
                    <a:lnTo>
                      <a:pt x="70" y="284"/>
                    </a:lnTo>
                    <a:lnTo>
                      <a:pt x="66" y="270"/>
                    </a:lnTo>
                    <a:lnTo>
                      <a:pt x="52" y="258"/>
                    </a:lnTo>
                    <a:lnTo>
                      <a:pt x="40" y="258"/>
                    </a:lnTo>
                    <a:lnTo>
                      <a:pt x="40" y="254"/>
                    </a:lnTo>
                    <a:lnTo>
                      <a:pt x="34" y="248"/>
                    </a:lnTo>
                    <a:lnTo>
                      <a:pt x="20" y="24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8F08AC77-A773-42D5-B690-B39827D3020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57" y="726"/>
                <a:ext cx="472" cy="768"/>
              </a:xfrm>
              <a:custGeom>
                <a:avLst/>
                <a:gdLst>
                  <a:gd name="T0" fmla="*/ 40 w 470"/>
                  <a:gd name="T1" fmla="*/ 506 h 762"/>
                  <a:gd name="T2" fmla="*/ 50 w 470"/>
                  <a:gd name="T3" fmla="*/ 482 h 762"/>
                  <a:gd name="T4" fmla="*/ 54 w 470"/>
                  <a:gd name="T5" fmla="*/ 478 h 762"/>
                  <a:gd name="T6" fmla="*/ 52 w 470"/>
                  <a:gd name="T7" fmla="*/ 464 h 762"/>
                  <a:gd name="T8" fmla="*/ 38 w 470"/>
                  <a:gd name="T9" fmla="*/ 452 h 762"/>
                  <a:gd name="T10" fmla="*/ 58 w 470"/>
                  <a:gd name="T11" fmla="*/ 413 h 762"/>
                  <a:gd name="T12" fmla="*/ 76 w 470"/>
                  <a:gd name="T13" fmla="*/ 399 h 762"/>
                  <a:gd name="T14" fmla="*/ 84 w 470"/>
                  <a:gd name="T15" fmla="*/ 387 h 762"/>
                  <a:gd name="T16" fmla="*/ 116 w 470"/>
                  <a:gd name="T17" fmla="*/ 321 h 762"/>
                  <a:gd name="T18" fmla="*/ 102 w 470"/>
                  <a:gd name="T19" fmla="*/ 312 h 762"/>
                  <a:gd name="T20" fmla="*/ 94 w 470"/>
                  <a:gd name="T21" fmla="*/ 294 h 762"/>
                  <a:gd name="T22" fmla="*/ 96 w 470"/>
                  <a:gd name="T23" fmla="*/ 276 h 762"/>
                  <a:gd name="T24" fmla="*/ 94 w 470"/>
                  <a:gd name="T25" fmla="*/ 264 h 762"/>
                  <a:gd name="T26" fmla="*/ 96 w 470"/>
                  <a:gd name="T27" fmla="*/ 252 h 762"/>
                  <a:gd name="T28" fmla="*/ 151 w 470"/>
                  <a:gd name="T29" fmla="*/ 0 h 762"/>
                  <a:gd name="T30" fmla="*/ 197 w 470"/>
                  <a:gd name="T31" fmla="*/ 111 h 762"/>
                  <a:gd name="T32" fmla="*/ 213 w 470"/>
                  <a:gd name="T33" fmla="*/ 155 h 762"/>
                  <a:gd name="T34" fmla="*/ 205 w 470"/>
                  <a:gd name="T35" fmla="*/ 169 h 762"/>
                  <a:gd name="T36" fmla="*/ 217 w 470"/>
                  <a:gd name="T37" fmla="*/ 185 h 762"/>
                  <a:gd name="T38" fmla="*/ 247 w 470"/>
                  <a:gd name="T39" fmla="*/ 228 h 762"/>
                  <a:gd name="T40" fmla="*/ 255 w 470"/>
                  <a:gd name="T41" fmla="*/ 254 h 762"/>
                  <a:gd name="T42" fmla="*/ 265 w 470"/>
                  <a:gd name="T43" fmla="*/ 262 h 762"/>
                  <a:gd name="T44" fmla="*/ 285 w 470"/>
                  <a:gd name="T45" fmla="*/ 270 h 762"/>
                  <a:gd name="T46" fmla="*/ 271 w 470"/>
                  <a:gd name="T47" fmla="*/ 306 h 762"/>
                  <a:gd name="T48" fmla="*/ 263 w 470"/>
                  <a:gd name="T49" fmla="*/ 329 h 762"/>
                  <a:gd name="T50" fmla="*/ 265 w 470"/>
                  <a:gd name="T51" fmla="*/ 339 h 762"/>
                  <a:gd name="T52" fmla="*/ 253 w 470"/>
                  <a:gd name="T53" fmla="*/ 355 h 762"/>
                  <a:gd name="T54" fmla="*/ 251 w 470"/>
                  <a:gd name="T55" fmla="*/ 369 h 762"/>
                  <a:gd name="T56" fmla="*/ 269 w 470"/>
                  <a:gd name="T57" fmla="*/ 381 h 762"/>
                  <a:gd name="T58" fmla="*/ 293 w 470"/>
                  <a:gd name="T59" fmla="*/ 363 h 762"/>
                  <a:gd name="T60" fmla="*/ 297 w 470"/>
                  <a:gd name="T61" fmla="*/ 371 h 762"/>
                  <a:gd name="T62" fmla="*/ 305 w 470"/>
                  <a:gd name="T63" fmla="*/ 377 h 762"/>
                  <a:gd name="T64" fmla="*/ 303 w 470"/>
                  <a:gd name="T65" fmla="*/ 409 h 762"/>
                  <a:gd name="T66" fmla="*/ 315 w 470"/>
                  <a:gd name="T67" fmla="*/ 433 h 762"/>
                  <a:gd name="T68" fmla="*/ 309 w 470"/>
                  <a:gd name="T69" fmla="*/ 447 h 762"/>
                  <a:gd name="T70" fmla="*/ 325 w 470"/>
                  <a:gd name="T71" fmla="*/ 462 h 762"/>
                  <a:gd name="T72" fmla="*/ 335 w 470"/>
                  <a:gd name="T73" fmla="*/ 478 h 762"/>
                  <a:gd name="T74" fmla="*/ 331 w 470"/>
                  <a:gd name="T75" fmla="*/ 494 h 762"/>
                  <a:gd name="T76" fmla="*/ 347 w 470"/>
                  <a:gd name="T77" fmla="*/ 510 h 762"/>
                  <a:gd name="T78" fmla="*/ 358 w 470"/>
                  <a:gd name="T79" fmla="*/ 498 h 762"/>
                  <a:gd name="T80" fmla="*/ 378 w 470"/>
                  <a:gd name="T81" fmla="*/ 506 h 762"/>
                  <a:gd name="T82" fmla="*/ 390 w 470"/>
                  <a:gd name="T83" fmla="*/ 498 h 762"/>
                  <a:gd name="T84" fmla="*/ 414 w 470"/>
                  <a:gd name="T85" fmla="*/ 502 h 762"/>
                  <a:gd name="T86" fmla="*/ 426 w 470"/>
                  <a:gd name="T87" fmla="*/ 506 h 762"/>
                  <a:gd name="T88" fmla="*/ 444 w 470"/>
                  <a:gd name="T89" fmla="*/ 498 h 762"/>
                  <a:gd name="T90" fmla="*/ 464 w 470"/>
                  <a:gd name="T91" fmla="*/ 500 h 762"/>
                  <a:gd name="T92" fmla="*/ 472 w 470"/>
                  <a:gd name="T93" fmla="*/ 520 h 762"/>
                  <a:gd name="T94" fmla="*/ 438 w 470"/>
                  <a:gd name="T95" fmla="*/ 768 h 762"/>
                  <a:gd name="T96" fmla="*/ 217 w 470"/>
                  <a:gd name="T97" fmla="*/ 728 h 76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70" h="762">
                    <a:moveTo>
                      <a:pt x="0" y="678"/>
                    </a:moveTo>
                    <a:lnTo>
                      <a:pt x="40" y="502"/>
                    </a:lnTo>
                    <a:lnTo>
                      <a:pt x="50" y="490"/>
                    </a:lnTo>
                    <a:lnTo>
                      <a:pt x="50" y="478"/>
                    </a:lnTo>
                    <a:lnTo>
                      <a:pt x="52" y="476"/>
                    </a:lnTo>
                    <a:lnTo>
                      <a:pt x="54" y="474"/>
                    </a:lnTo>
                    <a:lnTo>
                      <a:pt x="56" y="468"/>
                    </a:lnTo>
                    <a:lnTo>
                      <a:pt x="52" y="460"/>
                    </a:lnTo>
                    <a:lnTo>
                      <a:pt x="40" y="456"/>
                    </a:lnTo>
                    <a:lnTo>
                      <a:pt x="38" y="448"/>
                    </a:lnTo>
                    <a:lnTo>
                      <a:pt x="42" y="436"/>
                    </a:lnTo>
                    <a:lnTo>
                      <a:pt x="58" y="410"/>
                    </a:lnTo>
                    <a:lnTo>
                      <a:pt x="70" y="404"/>
                    </a:lnTo>
                    <a:lnTo>
                      <a:pt x="76" y="396"/>
                    </a:lnTo>
                    <a:lnTo>
                      <a:pt x="78" y="390"/>
                    </a:lnTo>
                    <a:lnTo>
                      <a:pt x="84" y="384"/>
                    </a:lnTo>
                    <a:lnTo>
                      <a:pt x="118" y="332"/>
                    </a:lnTo>
                    <a:lnTo>
                      <a:pt x="116" y="318"/>
                    </a:lnTo>
                    <a:lnTo>
                      <a:pt x="108" y="312"/>
                    </a:lnTo>
                    <a:lnTo>
                      <a:pt x="102" y="310"/>
                    </a:lnTo>
                    <a:lnTo>
                      <a:pt x="96" y="300"/>
                    </a:lnTo>
                    <a:lnTo>
                      <a:pt x="94" y="292"/>
                    </a:lnTo>
                    <a:lnTo>
                      <a:pt x="92" y="280"/>
                    </a:lnTo>
                    <a:lnTo>
                      <a:pt x="96" y="274"/>
                    </a:lnTo>
                    <a:lnTo>
                      <a:pt x="98" y="270"/>
                    </a:lnTo>
                    <a:lnTo>
                      <a:pt x="94" y="262"/>
                    </a:lnTo>
                    <a:lnTo>
                      <a:pt x="94" y="252"/>
                    </a:lnTo>
                    <a:lnTo>
                      <a:pt x="96" y="250"/>
                    </a:lnTo>
                    <a:lnTo>
                      <a:pt x="152" y="0"/>
                    </a:lnTo>
                    <a:lnTo>
                      <a:pt x="150" y="0"/>
                    </a:lnTo>
                    <a:lnTo>
                      <a:pt x="214" y="16"/>
                    </a:lnTo>
                    <a:lnTo>
                      <a:pt x="196" y="110"/>
                    </a:lnTo>
                    <a:lnTo>
                      <a:pt x="208" y="136"/>
                    </a:lnTo>
                    <a:lnTo>
                      <a:pt x="212" y="154"/>
                    </a:lnTo>
                    <a:lnTo>
                      <a:pt x="208" y="162"/>
                    </a:lnTo>
                    <a:lnTo>
                      <a:pt x="204" y="168"/>
                    </a:lnTo>
                    <a:lnTo>
                      <a:pt x="208" y="172"/>
                    </a:lnTo>
                    <a:lnTo>
                      <a:pt x="216" y="184"/>
                    </a:lnTo>
                    <a:lnTo>
                      <a:pt x="234" y="200"/>
                    </a:lnTo>
                    <a:lnTo>
                      <a:pt x="246" y="226"/>
                    </a:lnTo>
                    <a:lnTo>
                      <a:pt x="248" y="238"/>
                    </a:lnTo>
                    <a:lnTo>
                      <a:pt x="254" y="252"/>
                    </a:lnTo>
                    <a:lnTo>
                      <a:pt x="264" y="252"/>
                    </a:lnTo>
                    <a:lnTo>
                      <a:pt x="264" y="260"/>
                    </a:lnTo>
                    <a:lnTo>
                      <a:pt x="280" y="262"/>
                    </a:lnTo>
                    <a:lnTo>
                      <a:pt x="284" y="268"/>
                    </a:lnTo>
                    <a:lnTo>
                      <a:pt x="268" y="300"/>
                    </a:lnTo>
                    <a:lnTo>
                      <a:pt x="270" y="304"/>
                    </a:lnTo>
                    <a:lnTo>
                      <a:pt x="264" y="310"/>
                    </a:lnTo>
                    <a:lnTo>
                      <a:pt x="262" y="326"/>
                    </a:lnTo>
                    <a:lnTo>
                      <a:pt x="264" y="326"/>
                    </a:lnTo>
                    <a:lnTo>
                      <a:pt x="264" y="336"/>
                    </a:lnTo>
                    <a:lnTo>
                      <a:pt x="252" y="344"/>
                    </a:lnTo>
                    <a:lnTo>
                      <a:pt x="252" y="352"/>
                    </a:lnTo>
                    <a:lnTo>
                      <a:pt x="254" y="358"/>
                    </a:lnTo>
                    <a:lnTo>
                      <a:pt x="250" y="366"/>
                    </a:lnTo>
                    <a:lnTo>
                      <a:pt x="264" y="378"/>
                    </a:lnTo>
                    <a:lnTo>
                      <a:pt x="268" y="378"/>
                    </a:lnTo>
                    <a:lnTo>
                      <a:pt x="288" y="360"/>
                    </a:lnTo>
                    <a:lnTo>
                      <a:pt x="292" y="360"/>
                    </a:lnTo>
                    <a:lnTo>
                      <a:pt x="294" y="360"/>
                    </a:lnTo>
                    <a:lnTo>
                      <a:pt x="296" y="368"/>
                    </a:lnTo>
                    <a:lnTo>
                      <a:pt x="300" y="370"/>
                    </a:lnTo>
                    <a:lnTo>
                      <a:pt x="304" y="374"/>
                    </a:lnTo>
                    <a:lnTo>
                      <a:pt x="302" y="386"/>
                    </a:lnTo>
                    <a:lnTo>
                      <a:pt x="302" y="406"/>
                    </a:lnTo>
                    <a:lnTo>
                      <a:pt x="306" y="418"/>
                    </a:lnTo>
                    <a:lnTo>
                      <a:pt x="314" y="430"/>
                    </a:lnTo>
                    <a:lnTo>
                      <a:pt x="314" y="436"/>
                    </a:lnTo>
                    <a:lnTo>
                      <a:pt x="308" y="444"/>
                    </a:lnTo>
                    <a:lnTo>
                      <a:pt x="316" y="458"/>
                    </a:lnTo>
                    <a:lnTo>
                      <a:pt x="324" y="458"/>
                    </a:lnTo>
                    <a:lnTo>
                      <a:pt x="332" y="466"/>
                    </a:lnTo>
                    <a:lnTo>
                      <a:pt x="334" y="474"/>
                    </a:lnTo>
                    <a:lnTo>
                      <a:pt x="330" y="486"/>
                    </a:lnTo>
                    <a:lnTo>
                      <a:pt x="330" y="490"/>
                    </a:lnTo>
                    <a:lnTo>
                      <a:pt x="336" y="500"/>
                    </a:lnTo>
                    <a:lnTo>
                      <a:pt x="346" y="506"/>
                    </a:lnTo>
                    <a:lnTo>
                      <a:pt x="350" y="496"/>
                    </a:lnTo>
                    <a:lnTo>
                      <a:pt x="356" y="494"/>
                    </a:lnTo>
                    <a:lnTo>
                      <a:pt x="370" y="500"/>
                    </a:lnTo>
                    <a:lnTo>
                      <a:pt x="376" y="502"/>
                    </a:lnTo>
                    <a:lnTo>
                      <a:pt x="384" y="494"/>
                    </a:lnTo>
                    <a:lnTo>
                      <a:pt x="388" y="494"/>
                    </a:lnTo>
                    <a:lnTo>
                      <a:pt x="392" y="498"/>
                    </a:lnTo>
                    <a:lnTo>
                      <a:pt x="412" y="498"/>
                    </a:lnTo>
                    <a:lnTo>
                      <a:pt x="420" y="504"/>
                    </a:lnTo>
                    <a:lnTo>
                      <a:pt x="424" y="502"/>
                    </a:lnTo>
                    <a:lnTo>
                      <a:pt x="444" y="502"/>
                    </a:lnTo>
                    <a:lnTo>
                      <a:pt x="442" y="494"/>
                    </a:lnTo>
                    <a:lnTo>
                      <a:pt x="452" y="488"/>
                    </a:lnTo>
                    <a:lnTo>
                      <a:pt x="462" y="496"/>
                    </a:lnTo>
                    <a:lnTo>
                      <a:pt x="464" y="508"/>
                    </a:lnTo>
                    <a:lnTo>
                      <a:pt x="470" y="516"/>
                    </a:lnTo>
                    <a:lnTo>
                      <a:pt x="436" y="762"/>
                    </a:lnTo>
                    <a:lnTo>
                      <a:pt x="434" y="762"/>
                    </a:lnTo>
                    <a:lnTo>
                      <a:pt x="216" y="722"/>
                    </a:lnTo>
                    <a:lnTo>
                      <a:pt x="0" y="67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:a16="http://schemas.microsoft.com/office/drawing/2014/main" id="{C3DA7D0F-B2B2-42C0-AFEA-670EB8C0F6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70" y="1359"/>
                <a:ext cx="504" cy="775"/>
              </a:xfrm>
              <a:custGeom>
                <a:avLst/>
                <a:gdLst>
                  <a:gd name="T0" fmla="*/ 74 w 502"/>
                  <a:gd name="T1" fmla="*/ 0 h 772"/>
                  <a:gd name="T2" fmla="*/ 0 w 502"/>
                  <a:gd name="T3" fmla="*/ 295 h 772"/>
                  <a:gd name="T4" fmla="*/ 325 w 502"/>
                  <a:gd name="T5" fmla="*/ 775 h 772"/>
                  <a:gd name="T6" fmla="*/ 325 w 502"/>
                  <a:gd name="T7" fmla="*/ 771 h 772"/>
                  <a:gd name="T8" fmla="*/ 329 w 502"/>
                  <a:gd name="T9" fmla="*/ 763 h 772"/>
                  <a:gd name="T10" fmla="*/ 335 w 502"/>
                  <a:gd name="T11" fmla="*/ 743 h 772"/>
                  <a:gd name="T12" fmla="*/ 331 w 502"/>
                  <a:gd name="T13" fmla="*/ 735 h 772"/>
                  <a:gd name="T14" fmla="*/ 337 w 502"/>
                  <a:gd name="T15" fmla="*/ 689 h 772"/>
                  <a:gd name="T16" fmla="*/ 333 w 502"/>
                  <a:gd name="T17" fmla="*/ 671 h 772"/>
                  <a:gd name="T18" fmla="*/ 337 w 502"/>
                  <a:gd name="T19" fmla="*/ 665 h 772"/>
                  <a:gd name="T20" fmla="*/ 349 w 502"/>
                  <a:gd name="T21" fmla="*/ 663 h 772"/>
                  <a:gd name="T22" fmla="*/ 365 w 502"/>
                  <a:gd name="T23" fmla="*/ 667 h 772"/>
                  <a:gd name="T24" fmla="*/ 369 w 502"/>
                  <a:gd name="T25" fmla="*/ 673 h 772"/>
                  <a:gd name="T26" fmla="*/ 369 w 502"/>
                  <a:gd name="T27" fmla="*/ 677 h 772"/>
                  <a:gd name="T28" fmla="*/ 375 w 502"/>
                  <a:gd name="T29" fmla="*/ 683 h 772"/>
                  <a:gd name="T30" fmla="*/ 384 w 502"/>
                  <a:gd name="T31" fmla="*/ 683 h 772"/>
                  <a:gd name="T32" fmla="*/ 400 w 502"/>
                  <a:gd name="T33" fmla="*/ 640 h 772"/>
                  <a:gd name="T34" fmla="*/ 408 w 502"/>
                  <a:gd name="T35" fmla="*/ 588 h 772"/>
                  <a:gd name="T36" fmla="*/ 504 w 502"/>
                  <a:gd name="T37" fmla="*/ 94 h 772"/>
                  <a:gd name="T38" fmla="*/ 287 w 502"/>
                  <a:gd name="T39" fmla="*/ 50 h 772"/>
                  <a:gd name="T40" fmla="*/ 74 w 502"/>
                  <a:gd name="T41" fmla="*/ 0 h 77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02" h="772">
                    <a:moveTo>
                      <a:pt x="74" y="0"/>
                    </a:moveTo>
                    <a:lnTo>
                      <a:pt x="0" y="294"/>
                    </a:lnTo>
                    <a:lnTo>
                      <a:pt x="324" y="772"/>
                    </a:lnTo>
                    <a:lnTo>
                      <a:pt x="324" y="768"/>
                    </a:lnTo>
                    <a:lnTo>
                      <a:pt x="328" y="760"/>
                    </a:lnTo>
                    <a:lnTo>
                      <a:pt x="334" y="740"/>
                    </a:lnTo>
                    <a:lnTo>
                      <a:pt x="330" y="732"/>
                    </a:lnTo>
                    <a:lnTo>
                      <a:pt x="336" y="686"/>
                    </a:lnTo>
                    <a:lnTo>
                      <a:pt x="332" y="668"/>
                    </a:lnTo>
                    <a:lnTo>
                      <a:pt x="336" y="662"/>
                    </a:lnTo>
                    <a:lnTo>
                      <a:pt x="348" y="660"/>
                    </a:lnTo>
                    <a:lnTo>
                      <a:pt x="364" y="664"/>
                    </a:lnTo>
                    <a:lnTo>
                      <a:pt x="368" y="670"/>
                    </a:lnTo>
                    <a:lnTo>
                      <a:pt x="368" y="674"/>
                    </a:lnTo>
                    <a:lnTo>
                      <a:pt x="374" y="680"/>
                    </a:lnTo>
                    <a:lnTo>
                      <a:pt x="382" y="680"/>
                    </a:lnTo>
                    <a:lnTo>
                      <a:pt x="398" y="638"/>
                    </a:lnTo>
                    <a:lnTo>
                      <a:pt x="406" y="586"/>
                    </a:lnTo>
                    <a:lnTo>
                      <a:pt x="502" y="94"/>
                    </a:lnTo>
                    <a:lnTo>
                      <a:pt x="286" y="50"/>
                    </a:lnTo>
                    <a:lnTo>
                      <a:pt x="74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204409AF-A016-4FF7-B794-843946BCFF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73" y="1612"/>
                <a:ext cx="574" cy="455"/>
              </a:xfrm>
              <a:custGeom>
                <a:avLst/>
                <a:gdLst>
                  <a:gd name="T0" fmla="*/ 0 w 572"/>
                  <a:gd name="T1" fmla="*/ 397 h 454"/>
                  <a:gd name="T2" fmla="*/ 54 w 572"/>
                  <a:gd name="T3" fmla="*/ 0 h 454"/>
                  <a:gd name="T4" fmla="*/ 425 w 572"/>
                  <a:gd name="T5" fmla="*/ 42 h 454"/>
                  <a:gd name="T6" fmla="*/ 574 w 572"/>
                  <a:gd name="T7" fmla="*/ 54 h 454"/>
                  <a:gd name="T8" fmla="*/ 568 w 572"/>
                  <a:gd name="T9" fmla="*/ 154 h 454"/>
                  <a:gd name="T10" fmla="*/ 550 w 572"/>
                  <a:gd name="T11" fmla="*/ 455 h 454"/>
                  <a:gd name="T12" fmla="*/ 474 w 572"/>
                  <a:gd name="T13" fmla="*/ 449 h 454"/>
                  <a:gd name="T14" fmla="*/ 0 w 572"/>
                  <a:gd name="T15" fmla="*/ 397 h 45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72" h="454">
                    <a:moveTo>
                      <a:pt x="0" y="396"/>
                    </a:moveTo>
                    <a:lnTo>
                      <a:pt x="54" y="0"/>
                    </a:lnTo>
                    <a:lnTo>
                      <a:pt x="424" y="42"/>
                    </a:lnTo>
                    <a:lnTo>
                      <a:pt x="572" y="54"/>
                    </a:lnTo>
                    <a:lnTo>
                      <a:pt x="566" y="154"/>
                    </a:lnTo>
                    <a:lnTo>
                      <a:pt x="548" y="454"/>
                    </a:lnTo>
                    <a:lnTo>
                      <a:pt x="472" y="448"/>
                    </a:lnTo>
                    <a:lnTo>
                      <a:pt x="0" y="39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BB2FFF24-988C-47C4-944F-170F8125CB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93" y="2008"/>
                <a:ext cx="553" cy="574"/>
              </a:xfrm>
              <a:custGeom>
                <a:avLst/>
                <a:gdLst>
                  <a:gd name="T0" fmla="*/ 80 w 552"/>
                  <a:gd name="T1" fmla="*/ 0 h 570"/>
                  <a:gd name="T2" fmla="*/ 0 w 552"/>
                  <a:gd name="T3" fmla="*/ 564 h 570"/>
                  <a:gd name="T4" fmla="*/ 0 w 552"/>
                  <a:gd name="T5" fmla="*/ 564 h 570"/>
                  <a:gd name="T6" fmla="*/ 72 w 552"/>
                  <a:gd name="T7" fmla="*/ 574 h 570"/>
                  <a:gd name="T8" fmla="*/ 78 w 552"/>
                  <a:gd name="T9" fmla="*/ 530 h 570"/>
                  <a:gd name="T10" fmla="*/ 214 w 552"/>
                  <a:gd name="T11" fmla="*/ 546 h 570"/>
                  <a:gd name="T12" fmla="*/ 214 w 552"/>
                  <a:gd name="T13" fmla="*/ 544 h 570"/>
                  <a:gd name="T14" fmla="*/ 210 w 552"/>
                  <a:gd name="T15" fmla="*/ 536 h 570"/>
                  <a:gd name="T16" fmla="*/ 214 w 552"/>
                  <a:gd name="T17" fmla="*/ 532 h 570"/>
                  <a:gd name="T18" fmla="*/ 212 w 552"/>
                  <a:gd name="T19" fmla="*/ 530 h 570"/>
                  <a:gd name="T20" fmla="*/ 210 w 552"/>
                  <a:gd name="T21" fmla="*/ 526 h 570"/>
                  <a:gd name="T22" fmla="*/ 212 w 552"/>
                  <a:gd name="T23" fmla="*/ 524 h 570"/>
                  <a:gd name="T24" fmla="*/ 509 w 552"/>
                  <a:gd name="T25" fmla="*/ 554 h 570"/>
                  <a:gd name="T26" fmla="*/ 545 w 552"/>
                  <a:gd name="T27" fmla="*/ 103 h 570"/>
                  <a:gd name="T28" fmla="*/ 551 w 552"/>
                  <a:gd name="T29" fmla="*/ 103 h 570"/>
                  <a:gd name="T30" fmla="*/ 553 w 552"/>
                  <a:gd name="T31" fmla="*/ 52 h 570"/>
                  <a:gd name="T32" fmla="*/ 80 w 552"/>
                  <a:gd name="T33" fmla="*/ 0 h 57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52" h="570">
                    <a:moveTo>
                      <a:pt x="80" y="0"/>
                    </a:moveTo>
                    <a:lnTo>
                      <a:pt x="0" y="560"/>
                    </a:lnTo>
                    <a:lnTo>
                      <a:pt x="72" y="570"/>
                    </a:lnTo>
                    <a:lnTo>
                      <a:pt x="78" y="526"/>
                    </a:lnTo>
                    <a:lnTo>
                      <a:pt x="214" y="542"/>
                    </a:lnTo>
                    <a:lnTo>
                      <a:pt x="214" y="540"/>
                    </a:lnTo>
                    <a:lnTo>
                      <a:pt x="210" y="532"/>
                    </a:lnTo>
                    <a:lnTo>
                      <a:pt x="214" y="528"/>
                    </a:lnTo>
                    <a:lnTo>
                      <a:pt x="212" y="526"/>
                    </a:lnTo>
                    <a:lnTo>
                      <a:pt x="210" y="522"/>
                    </a:lnTo>
                    <a:lnTo>
                      <a:pt x="212" y="520"/>
                    </a:lnTo>
                    <a:lnTo>
                      <a:pt x="508" y="550"/>
                    </a:lnTo>
                    <a:lnTo>
                      <a:pt x="544" y="102"/>
                    </a:lnTo>
                    <a:lnTo>
                      <a:pt x="550" y="102"/>
                    </a:lnTo>
                    <a:lnTo>
                      <a:pt x="552" y="52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665B62DF-6514-41A8-887D-7B0CCB8609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98" y="1453"/>
                <a:ext cx="655" cy="322"/>
              </a:xfrm>
              <a:custGeom>
                <a:avLst/>
                <a:gdLst>
                  <a:gd name="T0" fmla="*/ 0 w 650"/>
                  <a:gd name="T1" fmla="*/ 200 h 322"/>
                  <a:gd name="T2" fmla="*/ 16 w 650"/>
                  <a:gd name="T3" fmla="*/ 0 h 322"/>
                  <a:gd name="T4" fmla="*/ 421 w 650"/>
                  <a:gd name="T5" fmla="*/ 22 h 322"/>
                  <a:gd name="T6" fmla="*/ 431 w 650"/>
                  <a:gd name="T7" fmla="*/ 38 h 322"/>
                  <a:gd name="T8" fmla="*/ 445 w 650"/>
                  <a:gd name="T9" fmla="*/ 38 h 322"/>
                  <a:gd name="T10" fmla="*/ 455 w 650"/>
                  <a:gd name="T11" fmla="*/ 34 h 322"/>
                  <a:gd name="T12" fmla="*/ 464 w 650"/>
                  <a:gd name="T13" fmla="*/ 40 h 322"/>
                  <a:gd name="T14" fmla="*/ 468 w 650"/>
                  <a:gd name="T15" fmla="*/ 52 h 322"/>
                  <a:gd name="T16" fmla="*/ 480 w 650"/>
                  <a:gd name="T17" fmla="*/ 56 h 322"/>
                  <a:gd name="T18" fmla="*/ 490 w 650"/>
                  <a:gd name="T19" fmla="*/ 52 h 322"/>
                  <a:gd name="T20" fmla="*/ 500 w 650"/>
                  <a:gd name="T21" fmla="*/ 46 h 322"/>
                  <a:gd name="T22" fmla="*/ 514 w 650"/>
                  <a:gd name="T23" fmla="*/ 46 h 322"/>
                  <a:gd name="T24" fmla="*/ 522 w 650"/>
                  <a:gd name="T25" fmla="*/ 48 h 322"/>
                  <a:gd name="T26" fmla="*/ 554 w 650"/>
                  <a:gd name="T27" fmla="*/ 68 h 322"/>
                  <a:gd name="T28" fmla="*/ 568 w 650"/>
                  <a:gd name="T29" fmla="*/ 80 h 322"/>
                  <a:gd name="T30" fmla="*/ 570 w 650"/>
                  <a:gd name="T31" fmla="*/ 90 h 322"/>
                  <a:gd name="T32" fmla="*/ 580 w 650"/>
                  <a:gd name="T33" fmla="*/ 96 h 322"/>
                  <a:gd name="T34" fmla="*/ 580 w 650"/>
                  <a:gd name="T35" fmla="*/ 102 h 322"/>
                  <a:gd name="T36" fmla="*/ 574 w 650"/>
                  <a:gd name="T37" fmla="*/ 116 h 322"/>
                  <a:gd name="T38" fmla="*/ 582 w 650"/>
                  <a:gd name="T39" fmla="*/ 124 h 322"/>
                  <a:gd name="T40" fmla="*/ 588 w 650"/>
                  <a:gd name="T41" fmla="*/ 140 h 322"/>
                  <a:gd name="T42" fmla="*/ 597 w 650"/>
                  <a:gd name="T43" fmla="*/ 148 h 322"/>
                  <a:gd name="T44" fmla="*/ 595 w 650"/>
                  <a:gd name="T45" fmla="*/ 156 h 322"/>
                  <a:gd name="T46" fmla="*/ 597 w 650"/>
                  <a:gd name="T47" fmla="*/ 164 h 322"/>
                  <a:gd name="T48" fmla="*/ 607 w 650"/>
                  <a:gd name="T49" fmla="*/ 172 h 322"/>
                  <a:gd name="T50" fmla="*/ 609 w 650"/>
                  <a:gd name="T51" fmla="*/ 180 h 322"/>
                  <a:gd name="T52" fmla="*/ 607 w 650"/>
                  <a:gd name="T53" fmla="*/ 188 h 322"/>
                  <a:gd name="T54" fmla="*/ 605 w 650"/>
                  <a:gd name="T55" fmla="*/ 204 h 322"/>
                  <a:gd name="T56" fmla="*/ 615 w 650"/>
                  <a:gd name="T57" fmla="*/ 208 h 322"/>
                  <a:gd name="T58" fmla="*/ 617 w 650"/>
                  <a:gd name="T59" fmla="*/ 216 h 322"/>
                  <a:gd name="T60" fmla="*/ 613 w 650"/>
                  <a:gd name="T61" fmla="*/ 224 h 322"/>
                  <a:gd name="T62" fmla="*/ 615 w 650"/>
                  <a:gd name="T63" fmla="*/ 232 h 322"/>
                  <a:gd name="T64" fmla="*/ 621 w 650"/>
                  <a:gd name="T65" fmla="*/ 240 h 322"/>
                  <a:gd name="T66" fmla="*/ 617 w 650"/>
                  <a:gd name="T67" fmla="*/ 248 h 322"/>
                  <a:gd name="T68" fmla="*/ 621 w 650"/>
                  <a:gd name="T69" fmla="*/ 258 h 322"/>
                  <a:gd name="T70" fmla="*/ 623 w 650"/>
                  <a:gd name="T71" fmla="*/ 262 h 322"/>
                  <a:gd name="T72" fmla="*/ 629 w 650"/>
                  <a:gd name="T73" fmla="*/ 272 h 322"/>
                  <a:gd name="T74" fmla="*/ 637 w 650"/>
                  <a:gd name="T75" fmla="*/ 280 h 322"/>
                  <a:gd name="T76" fmla="*/ 639 w 650"/>
                  <a:gd name="T77" fmla="*/ 294 h 322"/>
                  <a:gd name="T78" fmla="*/ 649 w 650"/>
                  <a:gd name="T79" fmla="*/ 306 h 322"/>
                  <a:gd name="T80" fmla="*/ 655 w 650"/>
                  <a:gd name="T81" fmla="*/ 308 h 322"/>
                  <a:gd name="T82" fmla="*/ 653 w 650"/>
                  <a:gd name="T83" fmla="*/ 320 h 322"/>
                  <a:gd name="T84" fmla="*/ 653 w 650"/>
                  <a:gd name="T85" fmla="*/ 322 h 322"/>
                  <a:gd name="T86" fmla="*/ 143 w 650"/>
                  <a:gd name="T87" fmla="*/ 312 h 322"/>
                  <a:gd name="T88" fmla="*/ 149 w 650"/>
                  <a:gd name="T89" fmla="*/ 212 h 322"/>
                  <a:gd name="T90" fmla="*/ 0 w 650"/>
                  <a:gd name="T91" fmla="*/ 200 h 322"/>
                  <a:gd name="T92" fmla="*/ 0 w 650"/>
                  <a:gd name="T93" fmla="*/ 200 h 32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50" h="322">
                    <a:moveTo>
                      <a:pt x="0" y="200"/>
                    </a:moveTo>
                    <a:lnTo>
                      <a:pt x="16" y="0"/>
                    </a:lnTo>
                    <a:lnTo>
                      <a:pt x="418" y="22"/>
                    </a:lnTo>
                    <a:lnTo>
                      <a:pt x="428" y="38"/>
                    </a:lnTo>
                    <a:lnTo>
                      <a:pt x="442" y="38"/>
                    </a:lnTo>
                    <a:lnTo>
                      <a:pt x="452" y="34"/>
                    </a:lnTo>
                    <a:lnTo>
                      <a:pt x="460" y="40"/>
                    </a:lnTo>
                    <a:lnTo>
                      <a:pt x="464" y="52"/>
                    </a:lnTo>
                    <a:lnTo>
                      <a:pt x="476" y="56"/>
                    </a:lnTo>
                    <a:lnTo>
                      <a:pt x="486" y="52"/>
                    </a:lnTo>
                    <a:lnTo>
                      <a:pt x="496" y="46"/>
                    </a:lnTo>
                    <a:lnTo>
                      <a:pt x="510" y="46"/>
                    </a:lnTo>
                    <a:lnTo>
                      <a:pt x="518" y="48"/>
                    </a:lnTo>
                    <a:lnTo>
                      <a:pt x="550" y="68"/>
                    </a:lnTo>
                    <a:lnTo>
                      <a:pt x="564" y="80"/>
                    </a:lnTo>
                    <a:lnTo>
                      <a:pt x="566" y="90"/>
                    </a:lnTo>
                    <a:lnTo>
                      <a:pt x="576" y="96"/>
                    </a:lnTo>
                    <a:lnTo>
                      <a:pt x="576" y="102"/>
                    </a:lnTo>
                    <a:lnTo>
                      <a:pt x="570" y="116"/>
                    </a:lnTo>
                    <a:lnTo>
                      <a:pt x="578" y="124"/>
                    </a:lnTo>
                    <a:lnTo>
                      <a:pt x="584" y="140"/>
                    </a:lnTo>
                    <a:lnTo>
                      <a:pt x="592" y="148"/>
                    </a:lnTo>
                    <a:lnTo>
                      <a:pt x="590" y="156"/>
                    </a:lnTo>
                    <a:lnTo>
                      <a:pt x="592" y="164"/>
                    </a:lnTo>
                    <a:lnTo>
                      <a:pt x="602" y="172"/>
                    </a:lnTo>
                    <a:lnTo>
                      <a:pt x="604" y="180"/>
                    </a:lnTo>
                    <a:lnTo>
                      <a:pt x="602" y="188"/>
                    </a:lnTo>
                    <a:lnTo>
                      <a:pt x="600" y="204"/>
                    </a:lnTo>
                    <a:lnTo>
                      <a:pt x="610" y="208"/>
                    </a:lnTo>
                    <a:lnTo>
                      <a:pt x="612" y="216"/>
                    </a:lnTo>
                    <a:lnTo>
                      <a:pt x="608" y="224"/>
                    </a:lnTo>
                    <a:lnTo>
                      <a:pt x="610" y="232"/>
                    </a:lnTo>
                    <a:lnTo>
                      <a:pt x="616" y="240"/>
                    </a:lnTo>
                    <a:lnTo>
                      <a:pt x="612" y="248"/>
                    </a:lnTo>
                    <a:lnTo>
                      <a:pt x="616" y="258"/>
                    </a:lnTo>
                    <a:lnTo>
                      <a:pt x="618" y="262"/>
                    </a:lnTo>
                    <a:lnTo>
                      <a:pt x="624" y="272"/>
                    </a:lnTo>
                    <a:lnTo>
                      <a:pt x="632" y="280"/>
                    </a:lnTo>
                    <a:lnTo>
                      <a:pt x="634" y="294"/>
                    </a:lnTo>
                    <a:lnTo>
                      <a:pt x="644" y="306"/>
                    </a:lnTo>
                    <a:lnTo>
                      <a:pt x="650" y="308"/>
                    </a:lnTo>
                    <a:lnTo>
                      <a:pt x="648" y="320"/>
                    </a:lnTo>
                    <a:lnTo>
                      <a:pt x="648" y="322"/>
                    </a:lnTo>
                    <a:lnTo>
                      <a:pt x="142" y="312"/>
                    </a:lnTo>
                    <a:lnTo>
                      <a:pt x="148" y="212"/>
                    </a:lnTo>
                    <a:lnTo>
                      <a:pt x="0" y="2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8875DE7C-5AA0-4874-9D6C-48046D9F54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24" y="1766"/>
                <a:ext cx="586" cy="312"/>
              </a:xfrm>
              <a:custGeom>
                <a:avLst/>
                <a:gdLst>
                  <a:gd name="T0" fmla="*/ 18 w 584"/>
                  <a:gd name="T1" fmla="*/ 0 h 312"/>
                  <a:gd name="T2" fmla="*/ 526 w 584"/>
                  <a:gd name="T3" fmla="*/ 10 h 312"/>
                  <a:gd name="T4" fmla="*/ 560 w 584"/>
                  <a:gd name="T5" fmla="*/ 36 h 312"/>
                  <a:gd name="T6" fmla="*/ 550 w 584"/>
                  <a:gd name="T7" fmla="*/ 48 h 312"/>
                  <a:gd name="T8" fmla="*/ 548 w 584"/>
                  <a:gd name="T9" fmla="*/ 60 h 312"/>
                  <a:gd name="T10" fmla="*/ 552 w 584"/>
                  <a:gd name="T11" fmla="*/ 66 h 312"/>
                  <a:gd name="T12" fmla="*/ 560 w 584"/>
                  <a:gd name="T13" fmla="*/ 70 h 312"/>
                  <a:gd name="T14" fmla="*/ 566 w 584"/>
                  <a:gd name="T15" fmla="*/ 88 h 312"/>
                  <a:gd name="T16" fmla="*/ 574 w 584"/>
                  <a:gd name="T17" fmla="*/ 92 h 312"/>
                  <a:gd name="T18" fmla="*/ 580 w 584"/>
                  <a:gd name="T19" fmla="*/ 94 h 312"/>
                  <a:gd name="T20" fmla="*/ 584 w 584"/>
                  <a:gd name="T21" fmla="*/ 96 h 312"/>
                  <a:gd name="T22" fmla="*/ 586 w 584"/>
                  <a:gd name="T23" fmla="*/ 312 h 312"/>
                  <a:gd name="T24" fmla="*/ 0 w 584"/>
                  <a:gd name="T25" fmla="*/ 300 h 312"/>
                  <a:gd name="T26" fmla="*/ 18 w 584"/>
                  <a:gd name="T27" fmla="*/ 0 h 31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84" h="312">
                    <a:moveTo>
                      <a:pt x="18" y="0"/>
                    </a:moveTo>
                    <a:lnTo>
                      <a:pt x="524" y="10"/>
                    </a:lnTo>
                    <a:lnTo>
                      <a:pt x="558" y="36"/>
                    </a:lnTo>
                    <a:lnTo>
                      <a:pt x="548" y="48"/>
                    </a:lnTo>
                    <a:lnTo>
                      <a:pt x="546" y="60"/>
                    </a:lnTo>
                    <a:lnTo>
                      <a:pt x="550" y="66"/>
                    </a:lnTo>
                    <a:lnTo>
                      <a:pt x="558" y="70"/>
                    </a:lnTo>
                    <a:lnTo>
                      <a:pt x="564" y="88"/>
                    </a:lnTo>
                    <a:lnTo>
                      <a:pt x="572" y="92"/>
                    </a:lnTo>
                    <a:lnTo>
                      <a:pt x="578" y="94"/>
                    </a:lnTo>
                    <a:lnTo>
                      <a:pt x="582" y="96"/>
                    </a:lnTo>
                    <a:lnTo>
                      <a:pt x="584" y="312"/>
                    </a:lnTo>
                    <a:lnTo>
                      <a:pt x="0" y="30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D8A5B400-88B0-4139-9286-17E8D598E5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9" y="1708"/>
                <a:ext cx="532" cy="457"/>
              </a:xfrm>
              <a:custGeom>
                <a:avLst/>
                <a:gdLst>
                  <a:gd name="T0" fmla="*/ 447 w 528"/>
                  <a:gd name="T1" fmla="*/ 405 h 456"/>
                  <a:gd name="T2" fmla="*/ 453 w 528"/>
                  <a:gd name="T3" fmla="*/ 415 h 456"/>
                  <a:gd name="T4" fmla="*/ 455 w 528"/>
                  <a:gd name="T5" fmla="*/ 431 h 456"/>
                  <a:gd name="T6" fmla="*/ 435 w 528"/>
                  <a:gd name="T7" fmla="*/ 451 h 456"/>
                  <a:gd name="T8" fmla="*/ 488 w 528"/>
                  <a:gd name="T9" fmla="*/ 453 h 456"/>
                  <a:gd name="T10" fmla="*/ 490 w 528"/>
                  <a:gd name="T11" fmla="*/ 433 h 456"/>
                  <a:gd name="T12" fmla="*/ 500 w 528"/>
                  <a:gd name="T13" fmla="*/ 403 h 456"/>
                  <a:gd name="T14" fmla="*/ 516 w 528"/>
                  <a:gd name="T15" fmla="*/ 391 h 456"/>
                  <a:gd name="T16" fmla="*/ 524 w 528"/>
                  <a:gd name="T17" fmla="*/ 389 h 456"/>
                  <a:gd name="T18" fmla="*/ 530 w 528"/>
                  <a:gd name="T19" fmla="*/ 355 h 456"/>
                  <a:gd name="T20" fmla="*/ 522 w 528"/>
                  <a:gd name="T21" fmla="*/ 351 h 456"/>
                  <a:gd name="T22" fmla="*/ 520 w 528"/>
                  <a:gd name="T23" fmla="*/ 347 h 456"/>
                  <a:gd name="T24" fmla="*/ 514 w 528"/>
                  <a:gd name="T25" fmla="*/ 351 h 456"/>
                  <a:gd name="T26" fmla="*/ 494 w 528"/>
                  <a:gd name="T27" fmla="*/ 325 h 456"/>
                  <a:gd name="T28" fmla="*/ 500 w 528"/>
                  <a:gd name="T29" fmla="*/ 315 h 456"/>
                  <a:gd name="T30" fmla="*/ 494 w 528"/>
                  <a:gd name="T31" fmla="*/ 303 h 456"/>
                  <a:gd name="T32" fmla="*/ 468 w 528"/>
                  <a:gd name="T33" fmla="*/ 265 h 456"/>
                  <a:gd name="T34" fmla="*/ 433 w 528"/>
                  <a:gd name="T35" fmla="*/ 249 h 456"/>
                  <a:gd name="T36" fmla="*/ 415 w 528"/>
                  <a:gd name="T37" fmla="*/ 224 h 456"/>
                  <a:gd name="T38" fmla="*/ 433 w 528"/>
                  <a:gd name="T39" fmla="*/ 200 h 456"/>
                  <a:gd name="T40" fmla="*/ 435 w 528"/>
                  <a:gd name="T41" fmla="*/ 174 h 456"/>
                  <a:gd name="T42" fmla="*/ 413 w 528"/>
                  <a:gd name="T43" fmla="*/ 158 h 456"/>
                  <a:gd name="T44" fmla="*/ 399 w 528"/>
                  <a:gd name="T45" fmla="*/ 170 h 456"/>
                  <a:gd name="T46" fmla="*/ 383 w 528"/>
                  <a:gd name="T47" fmla="*/ 130 h 456"/>
                  <a:gd name="T48" fmla="*/ 353 w 528"/>
                  <a:gd name="T49" fmla="*/ 106 h 456"/>
                  <a:gd name="T50" fmla="*/ 330 w 528"/>
                  <a:gd name="T51" fmla="*/ 72 h 456"/>
                  <a:gd name="T52" fmla="*/ 322 w 528"/>
                  <a:gd name="T53" fmla="*/ 38 h 456"/>
                  <a:gd name="T54" fmla="*/ 326 w 528"/>
                  <a:gd name="T55" fmla="*/ 22 h 456"/>
                  <a:gd name="T56" fmla="*/ 0 w 528"/>
                  <a:gd name="T57" fmla="*/ 8 h 456"/>
                  <a:gd name="T58" fmla="*/ 14 w 528"/>
                  <a:gd name="T59" fmla="*/ 26 h 456"/>
                  <a:gd name="T60" fmla="*/ 26 w 528"/>
                  <a:gd name="T61" fmla="*/ 52 h 456"/>
                  <a:gd name="T62" fmla="*/ 30 w 528"/>
                  <a:gd name="T63" fmla="*/ 66 h 456"/>
                  <a:gd name="T64" fmla="*/ 64 w 528"/>
                  <a:gd name="T65" fmla="*/ 94 h 456"/>
                  <a:gd name="T66" fmla="*/ 52 w 528"/>
                  <a:gd name="T67" fmla="*/ 118 h 456"/>
                  <a:gd name="T68" fmla="*/ 64 w 528"/>
                  <a:gd name="T69" fmla="*/ 128 h 456"/>
                  <a:gd name="T70" fmla="*/ 79 w 528"/>
                  <a:gd name="T71" fmla="*/ 150 h 456"/>
                  <a:gd name="T72" fmla="*/ 89 w 528"/>
                  <a:gd name="T73" fmla="*/ 154 h 456"/>
                  <a:gd name="T74" fmla="*/ 93 w 528"/>
                  <a:gd name="T75" fmla="*/ 421 h 45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528" h="456">
                    <a:moveTo>
                      <a:pt x="92" y="420"/>
                    </a:moveTo>
                    <a:lnTo>
                      <a:pt x="444" y="404"/>
                    </a:lnTo>
                    <a:lnTo>
                      <a:pt x="442" y="408"/>
                    </a:lnTo>
                    <a:lnTo>
                      <a:pt x="450" y="414"/>
                    </a:lnTo>
                    <a:lnTo>
                      <a:pt x="454" y="422"/>
                    </a:lnTo>
                    <a:lnTo>
                      <a:pt x="452" y="430"/>
                    </a:lnTo>
                    <a:lnTo>
                      <a:pt x="442" y="438"/>
                    </a:lnTo>
                    <a:lnTo>
                      <a:pt x="432" y="450"/>
                    </a:lnTo>
                    <a:lnTo>
                      <a:pt x="430" y="456"/>
                    </a:lnTo>
                    <a:lnTo>
                      <a:pt x="484" y="452"/>
                    </a:lnTo>
                    <a:lnTo>
                      <a:pt x="488" y="438"/>
                    </a:lnTo>
                    <a:lnTo>
                      <a:pt x="486" y="432"/>
                    </a:lnTo>
                    <a:lnTo>
                      <a:pt x="490" y="416"/>
                    </a:lnTo>
                    <a:lnTo>
                      <a:pt x="496" y="402"/>
                    </a:lnTo>
                    <a:lnTo>
                      <a:pt x="502" y="394"/>
                    </a:lnTo>
                    <a:lnTo>
                      <a:pt x="512" y="390"/>
                    </a:lnTo>
                    <a:lnTo>
                      <a:pt x="516" y="392"/>
                    </a:lnTo>
                    <a:lnTo>
                      <a:pt x="520" y="388"/>
                    </a:lnTo>
                    <a:lnTo>
                      <a:pt x="528" y="364"/>
                    </a:lnTo>
                    <a:lnTo>
                      <a:pt x="526" y="354"/>
                    </a:lnTo>
                    <a:lnTo>
                      <a:pt x="520" y="352"/>
                    </a:lnTo>
                    <a:lnTo>
                      <a:pt x="518" y="350"/>
                    </a:lnTo>
                    <a:lnTo>
                      <a:pt x="518" y="348"/>
                    </a:lnTo>
                    <a:lnTo>
                      <a:pt x="516" y="346"/>
                    </a:lnTo>
                    <a:lnTo>
                      <a:pt x="510" y="346"/>
                    </a:lnTo>
                    <a:lnTo>
                      <a:pt x="510" y="350"/>
                    </a:lnTo>
                    <a:lnTo>
                      <a:pt x="506" y="352"/>
                    </a:lnTo>
                    <a:lnTo>
                      <a:pt x="490" y="324"/>
                    </a:lnTo>
                    <a:lnTo>
                      <a:pt x="490" y="320"/>
                    </a:lnTo>
                    <a:lnTo>
                      <a:pt x="496" y="314"/>
                    </a:lnTo>
                    <a:lnTo>
                      <a:pt x="498" y="310"/>
                    </a:lnTo>
                    <a:lnTo>
                      <a:pt x="490" y="302"/>
                    </a:lnTo>
                    <a:lnTo>
                      <a:pt x="486" y="284"/>
                    </a:lnTo>
                    <a:lnTo>
                      <a:pt x="464" y="264"/>
                    </a:lnTo>
                    <a:lnTo>
                      <a:pt x="452" y="262"/>
                    </a:lnTo>
                    <a:lnTo>
                      <a:pt x="430" y="248"/>
                    </a:lnTo>
                    <a:lnTo>
                      <a:pt x="418" y="234"/>
                    </a:lnTo>
                    <a:lnTo>
                      <a:pt x="412" y="224"/>
                    </a:lnTo>
                    <a:lnTo>
                      <a:pt x="416" y="218"/>
                    </a:lnTo>
                    <a:lnTo>
                      <a:pt x="430" y="200"/>
                    </a:lnTo>
                    <a:lnTo>
                      <a:pt x="428" y="186"/>
                    </a:lnTo>
                    <a:lnTo>
                      <a:pt x="432" y="174"/>
                    </a:lnTo>
                    <a:lnTo>
                      <a:pt x="428" y="168"/>
                    </a:lnTo>
                    <a:lnTo>
                      <a:pt x="410" y="158"/>
                    </a:lnTo>
                    <a:lnTo>
                      <a:pt x="404" y="162"/>
                    </a:lnTo>
                    <a:lnTo>
                      <a:pt x="396" y="170"/>
                    </a:lnTo>
                    <a:lnTo>
                      <a:pt x="392" y="166"/>
                    </a:lnTo>
                    <a:lnTo>
                      <a:pt x="380" y="130"/>
                    </a:lnTo>
                    <a:lnTo>
                      <a:pt x="374" y="124"/>
                    </a:lnTo>
                    <a:lnTo>
                      <a:pt x="350" y="106"/>
                    </a:lnTo>
                    <a:lnTo>
                      <a:pt x="328" y="80"/>
                    </a:lnTo>
                    <a:lnTo>
                      <a:pt x="328" y="72"/>
                    </a:lnTo>
                    <a:lnTo>
                      <a:pt x="320" y="56"/>
                    </a:lnTo>
                    <a:lnTo>
                      <a:pt x="320" y="38"/>
                    </a:lnTo>
                    <a:lnTo>
                      <a:pt x="324" y="26"/>
                    </a:lnTo>
                    <a:lnTo>
                      <a:pt x="324" y="22"/>
                    </a:lnTo>
                    <a:lnTo>
                      <a:pt x="300" y="0"/>
                    </a:lnTo>
                    <a:lnTo>
                      <a:pt x="0" y="8"/>
                    </a:lnTo>
                    <a:lnTo>
                      <a:pt x="6" y="18"/>
                    </a:lnTo>
                    <a:lnTo>
                      <a:pt x="14" y="26"/>
                    </a:lnTo>
                    <a:lnTo>
                      <a:pt x="16" y="40"/>
                    </a:lnTo>
                    <a:lnTo>
                      <a:pt x="26" y="52"/>
                    </a:lnTo>
                    <a:lnTo>
                      <a:pt x="32" y="54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64" y="94"/>
                    </a:lnTo>
                    <a:lnTo>
                      <a:pt x="54" y="106"/>
                    </a:lnTo>
                    <a:lnTo>
                      <a:pt x="52" y="118"/>
                    </a:lnTo>
                    <a:lnTo>
                      <a:pt x="56" y="124"/>
                    </a:lnTo>
                    <a:lnTo>
                      <a:pt x="64" y="128"/>
                    </a:lnTo>
                    <a:lnTo>
                      <a:pt x="70" y="146"/>
                    </a:lnTo>
                    <a:lnTo>
                      <a:pt x="78" y="150"/>
                    </a:lnTo>
                    <a:lnTo>
                      <a:pt x="84" y="152"/>
                    </a:lnTo>
                    <a:lnTo>
                      <a:pt x="88" y="154"/>
                    </a:lnTo>
                    <a:lnTo>
                      <a:pt x="90" y="370"/>
                    </a:lnTo>
                    <a:lnTo>
                      <a:pt x="92" y="42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8104D61B-3529-4D5C-BBFD-75C406E649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61" y="2468"/>
                <a:ext cx="453" cy="389"/>
              </a:xfrm>
              <a:custGeom>
                <a:avLst/>
                <a:gdLst>
                  <a:gd name="T0" fmla="*/ 243 w 448"/>
                  <a:gd name="T1" fmla="*/ 8 h 388"/>
                  <a:gd name="T2" fmla="*/ 259 w 448"/>
                  <a:gd name="T3" fmla="*/ 58 h 388"/>
                  <a:gd name="T4" fmla="*/ 255 w 448"/>
                  <a:gd name="T5" fmla="*/ 78 h 388"/>
                  <a:gd name="T6" fmla="*/ 231 w 448"/>
                  <a:gd name="T7" fmla="*/ 126 h 388"/>
                  <a:gd name="T8" fmla="*/ 372 w 448"/>
                  <a:gd name="T9" fmla="*/ 192 h 388"/>
                  <a:gd name="T10" fmla="*/ 372 w 448"/>
                  <a:gd name="T11" fmla="*/ 235 h 388"/>
                  <a:gd name="T12" fmla="*/ 370 w 448"/>
                  <a:gd name="T13" fmla="*/ 267 h 388"/>
                  <a:gd name="T14" fmla="*/ 338 w 448"/>
                  <a:gd name="T15" fmla="*/ 259 h 388"/>
                  <a:gd name="T16" fmla="*/ 330 w 448"/>
                  <a:gd name="T17" fmla="*/ 287 h 388"/>
                  <a:gd name="T18" fmla="*/ 364 w 448"/>
                  <a:gd name="T19" fmla="*/ 281 h 388"/>
                  <a:gd name="T20" fmla="*/ 386 w 448"/>
                  <a:gd name="T21" fmla="*/ 277 h 388"/>
                  <a:gd name="T22" fmla="*/ 378 w 448"/>
                  <a:gd name="T23" fmla="*/ 291 h 388"/>
                  <a:gd name="T24" fmla="*/ 390 w 448"/>
                  <a:gd name="T25" fmla="*/ 301 h 388"/>
                  <a:gd name="T26" fmla="*/ 419 w 448"/>
                  <a:gd name="T27" fmla="*/ 279 h 388"/>
                  <a:gd name="T28" fmla="*/ 433 w 448"/>
                  <a:gd name="T29" fmla="*/ 281 h 388"/>
                  <a:gd name="T30" fmla="*/ 431 w 448"/>
                  <a:gd name="T31" fmla="*/ 297 h 388"/>
                  <a:gd name="T32" fmla="*/ 398 w 448"/>
                  <a:gd name="T33" fmla="*/ 329 h 388"/>
                  <a:gd name="T34" fmla="*/ 419 w 448"/>
                  <a:gd name="T35" fmla="*/ 355 h 388"/>
                  <a:gd name="T36" fmla="*/ 449 w 448"/>
                  <a:gd name="T37" fmla="*/ 379 h 388"/>
                  <a:gd name="T38" fmla="*/ 419 w 448"/>
                  <a:gd name="T39" fmla="*/ 371 h 388"/>
                  <a:gd name="T40" fmla="*/ 376 w 448"/>
                  <a:gd name="T41" fmla="*/ 347 h 388"/>
                  <a:gd name="T42" fmla="*/ 360 w 448"/>
                  <a:gd name="T43" fmla="*/ 365 h 388"/>
                  <a:gd name="T44" fmla="*/ 350 w 448"/>
                  <a:gd name="T45" fmla="*/ 381 h 388"/>
                  <a:gd name="T46" fmla="*/ 334 w 448"/>
                  <a:gd name="T47" fmla="*/ 369 h 388"/>
                  <a:gd name="T48" fmla="*/ 318 w 448"/>
                  <a:gd name="T49" fmla="*/ 369 h 388"/>
                  <a:gd name="T50" fmla="*/ 287 w 448"/>
                  <a:gd name="T51" fmla="*/ 377 h 388"/>
                  <a:gd name="T52" fmla="*/ 241 w 448"/>
                  <a:gd name="T53" fmla="*/ 347 h 388"/>
                  <a:gd name="T54" fmla="*/ 222 w 448"/>
                  <a:gd name="T55" fmla="*/ 333 h 388"/>
                  <a:gd name="T56" fmla="*/ 218 w 448"/>
                  <a:gd name="T57" fmla="*/ 327 h 388"/>
                  <a:gd name="T58" fmla="*/ 200 w 448"/>
                  <a:gd name="T59" fmla="*/ 325 h 388"/>
                  <a:gd name="T60" fmla="*/ 192 w 448"/>
                  <a:gd name="T61" fmla="*/ 317 h 388"/>
                  <a:gd name="T62" fmla="*/ 180 w 448"/>
                  <a:gd name="T63" fmla="*/ 343 h 388"/>
                  <a:gd name="T64" fmla="*/ 83 w 448"/>
                  <a:gd name="T65" fmla="*/ 327 h 388"/>
                  <a:gd name="T66" fmla="*/ 18 w 448"/>
                  <a:gd name="T67" fmla="*/ 325 h 388"/>
                  <a:gd name="T68" fmla="*/ 30 w 448"/>
                  <a:gd name="T69" fmla="*/ 309 h 388"/>
                  <a:gd name="T70" fmla="*/ 32 w 448"/>
                  <a:gd name="T71" fmla="*/ 271 h 388"/>
                  <a:gd name="T72" fmla="*/ 36 w 448"/>
                  <a:gd name="T73" fmla="*/ 249 h 388"/>
                  <a:gd name="T74" fmla="*/ 49 w 448"/>
                  <a:gd name="T75" fmla="*/ 215 h 388"/>
                  <a:gd name="T76" fmla="*/ 38 w 448"/>
                  <a:gd name="T77" fmla="*/ 178 h 388"/>
                  <a:gd name="T78" fmla="*/ 34 w 448"/>
                  <a:gd name="T79" fmla="*/ 166 h 388"/>
                  <a:gd name="T80" fmla="*/ 22 w 448"/>
                  <a:gd name="T81" fmla="*/ 148 h 388"/>
                  <a:gd name="T82" fmla="*/ 6 w 448"/>
                  <a:gd name="T83" fmla="*/ 112 h 38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448" h="388">
                    <a:moveTo>
                      <a:pt x="0" y="6"/>
                    </a:moveTo>
                    <a:lnTo>
                      <a:pt x="240" y="0"/>
                    </a:lnTo>
                    <a:lnTo>
                      <a:pt x="240" y="8"/>
                    </a:lnTo>
                    <a:lnTo>
                      <a:pt x="250" y="28"/>
                    </a:lnTo>
                    <a:lnTo>
                      <a:pt x="250" y="46"/>
                    </a:lnTo>
                    <a:lnTo>
                      <a:pt x="256" y="58"/>
                    </a:lnTo>
                    <a:lnTo>
                      <a:pt x="262" y="62"/>
                    </a:lnTo>
                    <a:lnTo>
                      <a:pt x="262" y="72"/>
                    </a:lnTo>
                    <a:lnTo>
                      <a:pt x="252" y="78"/>
                    </a:lnTo>
                    <a:lnTo>
                      <a:pt x="248" y="82"/>
                    </a:lnTo>
                    <a:lnTo>
                      <a:pt x="244" y="102"/>
                    </a:lnTo>
                    <a:lnTo>
                      <a:pt x="228" y="126"/>
                    </a:lnTo>
                    <a:lnTo>
                      <a:pt x="214" y="168"/>
                    </a:lnTo>
                    <a:lnTo>
                      <a:pt x="214" y="198"/>
                    </a:lnTo>
                    <a:lnTo>
                      <a:pt x="368" y="192"/>
                    </a:lnTo>
                    <a:lnTo>
                      <a:pt x="372" y="198"/>
                    </a:lnTo>
                    <a:lnTo>
                      <a:pt x="368" y="212"/>
                    </a:lnTo>
                    <a:lnTo>
                      <a:pt x="368" y="234"/>
                    </a:lnTo>
                    <a:lnTo>
                      <a:pt x="386" y="250"/>
                    </a:lnTo>
                    <a:lnTo>
                      <a:pt x="388" y="270"/>
                    </a:lnTo>
                    <a:lnTo>
                      <a:pt x="366" y="266"/>
                    </a:lnTo>
                    <a:lnTo>
                      <a:pt x="346" y="256"/>
                    </a:lnTo>
                    <a:lnTo>
                      <a:pt x="342" y="254"/>
                    </a:lnTo>
                    <a:lnTo>
                      <a:pt x="334" y="258"/>
                    </a:lnTo>
                    <a:lnTo>
                      <a:pt x="320" y="272"/>
                    </a:lnTo>
                    <a:lnTo>
                      <a:pt x="320" y="278"/>
                    </a:lnTo>
                    <a:lnTo>
                      <a:pt x="326" y="286"/>
                    </a:lnTo>
                    <a:lnTo>
                      <a:pt x="334" y="288"/>
                    </a:lnTo>
                    <a:lnTo>
                      <a:pt x="350" y="286"/>
                    </a:lnTo>
                    <a:lnTo>
                      <a:pt x="360" y="280"/>
                    </a:lnTo>
                    <a:lnTo>
                      <a:pt x="366" y="276"/>
                    </a:lnTo>
                    <a:lnTo>
                      <a:pt x="376" y="278"/>
                    </a:lnTo>
                    <a:lnTo>
                      <a:pt x="382" y="276"/>
                    </a:lnTo>
                    <a:lnTo>
                      <a:pt x="382" y="280"/>
                    </a:lnTo>
                    <a:lnTo>
                      <a:pt x="380" y="284"/>
                    </a:lnTo>
                    <a:lnTo>
                      <a:pt x="374" y="290"/>
                    </a:lnTo>
                    <a:lnTo>
                      <a:pt x="374" y="296"/>
                    </a:lnTo>
                    <a:lnTo>
                      <a:pt x="380" y="300"/>
                    </a:lnTo>
                    <a:lnTo>
                      <a:pt x="386" y="300"/>
                    </a:lnTo>
                    <a:lnTo>
                      <a:pt x="390" y="296"/>
                    </a:lnTo>
                    <a:lnTo>
                      <a:pt x="398" y="284"/>
                    </a:lnTo>
                    <a:lnTo>
                      <a:pt x="414" y="278"/>
                    </a:lnTo>
                    <a:lnTo>
                      <a:pt x="420" y="274"/>
                    </a:lnTo>
                    <a:lnTo>
                      <a:pt x="424" y="274"/>
                    </a:lnTo>
                    <a:lnTo>
                      <a:pt x="428" y="280"/>
                    </a:lnTo>
                    <a:lnTo>
                      <a:pt x="426" y="286"/>
                    </a:lnTo>
                    <a:lnTo>
                      <a:pt x="428" y="290"/>
                    </a:lnTo>
                    <a:lnTo>
                      <a:pt x="426" y="296"/>
                    </a:lnTo>
                    <a:lnTo>
                      <a:pt x="420" y="302"/>
                    </a:lnTo>
                    <a:lnTo>
                      <a:pt x="406" y="318"/>
                    </a:lnTo>
                    <a:lnTo>
                      <a:pt x="394" y="328"/>
                    </a:lnTo>
                    <a:lnTo>
                      <a:pt x="394" y="336"/>
                    </a:lnTo>
                    <a:lnTo>
                      <a:pt x="398" y="344"/>
                    </a:lnTo>
                    <a:lnTo>
                      <a:pt x="414" y="354"/>
                    </a:lnTo>
                    <a:lnTo>
                      <a:pt x="444" y="366"/>
                    </a:lnTo>
                    <a:lnTo>
                      <a:pt x="448" y="370"/>
                    </a:lnTo>
                    <a:lnTo>
                      <a:pt x="444" y="378"/>
                    </a:lnTo>
                    <a:lnTo>
                      <a:pt x="440" y="380"/>
                    </a:lnTo>
                    <a:lnTo>
                      <a:pt x="416" y="388"/>
                    </a:lnTo>
                    <a:lnTo>
                      <a:pt x="414" y="370"/>
                    </a:lnTo>
                    <a:lnTo>
                      <a:pt x="400" y="364"/>
                    </a:lnTo>
                    <a:lnTo>
                      <a:pt x="376" y="354"/>
                    </a:lnTo>
                    <a:lnTo>
                      <a:pt x="372" y="346"/>
                    </a:lnTo>
                    <a:lnTo>
                      <a:pt x="366" y="342"/>
                    </a:lnTo>
                    <a:lnTo>
                      <a:pt x="360" y="346"/>
                    </a:lnTo>
                    <a:lnTo>
                      <a:pt x="356" y="364"/>
                    </a:lnTo>
                    <a:lnTo>
                      <a:pt x="360" y="366"/>
                    </a:lnTo>
                    <a:lnTo>
                      <a:pt x="360" y="370"/>
                    </a:lnTo>
                    <a:lnTo>
                      <a:pt x="346" y="380"/>
                    </a:lnTo>
                    <a:lnTo>
                      <a:pt x="342" y="378"/>
                    </a:lnTo>
                    <a:lnTo>
                      <a:pt x="334" y="368"/>
                    </a:lnTo>
                    <a:lnTo>
                      <a:pt x="330" y="368"/>
                    </a:lnTo>
                    <a:lnTo>
                      <a:pt x="322" y="370"/>
                    </a:lnTo>
                    <a:lnTo>
                      <a:pt x="318" y="366"/>
                    </a:lnTo>
                    <a:lnTo>
                      <a:pt x="314" y="368"/>
                    </a:lnTo>
                    <a:lnTo>
                      <a:pt x="302" y="380"/>
                    </a:lnTo>
                    <a:lnTo>
                      <a:pt x="288" y="380"/>
                    </a:lnTo>
                    <a:lnTo>
                      <a:pt x="284" y="376"/>
                    </a:lnTo>
                    <a:lnTo>
                      <a:pt x="270" y="374"/>
                    </a:lnTo>
                    <a:lnTo>
                      <a:pt x="250" y="348"/>
                    </a:lnTo>
                    <a:lnTo>
                      <a:pt x="238" y="346"/>
                    </a:lnTo>
                    <a:lnTo>
                      <a:pt x="226" y="342"/>
                    </a:lnTo>
                    <a:lnTo>
                      <a:pt x="222" y="334"/>
                    </a:lnTo>
                    <a:lnTo>
                      <a:pt x="220" y="332"/>
                    </a:lnTo>
                    <a:lnTo>
                      <a:pt x="216" y="332"/>
                    </a:lnTo>
                    <a:lnTo>
                      <a:pt x="216" y="330"/>
                    </a:lnTo>
                    <a:lnTo>
                      <a:pt x="216" y="326"/>
                    </a:lnTo>
                    <a:lnTo>
                      <a:pt x="212" y="324"/>
                    </a:lnTo>
                    <a:lnTo>
                      <a:pt x="208" y="326"/>
                    </a:lnTo>
                    <a:lnTo>
                      <a:pt x="198" y="324"/>
                    </a:lnTo>
                    <a:lnTo>
                      <a:pt x="198" y="322"/>
                    </a:lnTo>
                    <a:lnTo>
                      <a:pt x="196" y="316"/>
                    </a:lnTo>
                    <a:lnTo>
                      <a:pt x="190" y="316"/>
                    </a:lnTo>
                    <a:lnTo>
                      <a:pt x="174" y="330"/>
                    </a:lnTo>
                    <a:lnTo>
                      <a:pt x="182" y="340"/>
                    </a:lnTo>
                    <a:lnTo>
                      <a:pt x="178" y="342"/>
                    </a:lnTo>
                    <a:lnTo>
                      <a:pt x="152" y="344"/>
                    </a:lnTo>
                    <a:lnTo>
                      <a:pt x="108" y="334"/>
                    </a:lnTo>
                    <a:lnTo>
                      <a:pt x="82" y="326"/>
                    </a:lnTo>
                    <a:lnTo>
                      <a:pt x="24" y="334"/>
                    </a:lnTo>
                    <a:lnTo>
                      <a:pt x="20" y="330"/>
                    </a:lnTo>
                    <a:lnTo>
                      <a:pt x="18" y="324"/>
                    </a:lnTo>
                    <a:lnTo>
                      <a:pt x="22" y="320"/>
                    </a:lnTo>
                    <a:lnTo>
                      <a:pt x="24" y="314"/>
                    </a:lnTo>
                    <a:lnTo>
                      <a:pt x="30" y="308"/>
                    </a:lnTo>
                    <a:lnTo>
                      <a:pt x="36" y="286"/>
                    </a:lnTo>
                    <a:lnTo>
                      <a:pt x="32" y="278"/>
                    </a:lnTo>
                    <a:lnTo>
                      <a:pt x="32" y="270"/>
                    </a:lnTo>
                    <a:lnTo>
                      <a:pt x="34" y="266"/>
                    </a:lnTo>
                    <a:lnTo>
                      <a:pt x="32" y="260"/>
                    </a:lnTo>
                    <a:lnTo>
                      <a:pt x="36" y="248"/>
                    </a:lnTo>
                    <a:lnTo>
                      <a:pt x="42" y="242"/>
                    </a:lnTo>
                    <a:lnTo>
                      <a:pt x="44" y="232"/>
                    </a:lnTo>
                    <a:lnTo>
                      <a:pt x="48" y="214"/>
                    </a:lnTo>
                    <a:lnTo>
                      <a:pt x="48" y="204"/>
                    </a:lnTo>
                    <a:lnTo>
                      <a:pt x="44" y="188"/>
                    </a:lnTo>
                    <a:lnTo>
                      <a:pt x="38" y="178"/>
                    </a:lnTo>
                    <a:lnTo>
                      <a:pt x="36" y="176"/>
                    </a:lnTo>
                    <a:lnTo>
                      <a:pt x="36" y="170"/>
                    </a:lnTo>
                    <a:lnTo>
                      <a:pt x="34" y="166"/>
                    </a:lnTo>
                    <a:lnTo>
                      <a:pt x="30" y="156"/>
                    </a:lnTo>
                    <a:lnTo>
                      <a:pt x="24" y="152"/>
                    </a:lnTo>
                    <a:lnTo>
                      <a:pt x="22" y="148"/>
                    </a:lnTo>
                    <a:lnTo>
                      <a:pt x="26" y="138"/>
                    </a:lnTo>
                    <a:lnTo>
                      <a:pt x="18" y="124"/>
                    </a:lnTo>
                    <a:lnTo>
                      <a:pt x="6" y="112"/>
                    </a:lnTo>
                    <a:lnTo>
                      <a:pt x="2" y="10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A18A4677-5411-4DFC-9480-25CFF26CFE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1" y="1501"/>
                <a:ext cx="316" cy="560"/>
              </a:xfrm>
              <a:custGeom>
                <a:avLst/>
                <a:gdLst>
                  <a:gd name="T0" fmla="*/ 52 w 314"/>
                  <a:gd name="T1" fmla="*/ 14 h 558"/>
                  <a:gd name="T2" fmla="*/ 70 w 314"/>
                  <a:gd name="T3" fmla="*/ 30 h 558"/>
                  <a:gd name="T4" fmla="*/ 87 w 314"/>
                  <a:gd name="T5" fmla="*/ 46 h 558"/>
                  <a:gd name="T6" fmla="*/ 91 w 314"/>
                  <a:gd name="T7" fmla="*/ 72 h 558"/>
                  <a:gd name="T8" fmla="*/ 81 w 314"/>
                  <a:gd name="T9" fmla="*/ 88 h 558"/>
                  <a:gd name="T10" fmla="*/ 68 w 314"/>
                  <a:gd name="T11" fmla="*/ 110 h 558"/>
                  <a:gd name="T12" fmla="*/ 52 w 314"/>
                  <a:gd name="T13" fmla="*/ 118 h 558"/>
                  <a:gd name="T14" fmla="*/ 30 w 314"/>
                  <a:gd name="T15" fmla="*/ 124 h 558"/>
                  <a:gd name="T16" fmla="*/ 26 w 314"/>
                  <a:gd name="T17" fmla="*/ 143 h 558"/>
                  <a:gd name="T18" fmla="*/ 38 w 314"/>
                  <a:gd name="T19" fmla="*/ 159 h 558"/>
                  <a:gd name="T20" fmla="*/ 24 w 314"/>
                  <a:gd name="T21" fmla="*/ 199 h 558"/>
                  <a:gd name="T22" fmla="*/ 8 w 314"/>
                  <a:gd name="T23" fmla="*/ 213 h 558"/>
                  <a:gd name="T24" fmla="*/ 4 w 314"/>
                  <a:gd name="T25" fmla="*/ 229 h 558"/>
                  <a:gd name="T26" fmla="*/ 0 w 314"/>
                  <a:gd name="T27" fmla="*/ 245 h 558"/>
                  <a:gd name="T28" fmla="*/ 8 w 314"/>
                  <a:gd name="T29" fmla="*/ 279 h 558"/>
                  <a:gd name="T30" fmla="*/ 30 w 314"/>
                  <a:gd name="T31" fmla="*/ 313 h 558"/>
                  <a:gd name="T32" fmla="*/ 60 w 314"/>
                  <a:gd name="T33" fmla="*/ 337 h 558"/>
                  <a:gd name="T34" fmla="*/ 76 w 314"/>
                  <a:gd name="T35" fmla="*/ 377 h 558"/>
                  <a:gd name="T36" fmla="*/ 91 w 314"/>
                  <a:gd name="T37" fmla="*/ 365 h 558"/>
                  <a:gd name="T38" fmla="*/ 113 w 314"/>
                  <a:gd name="T39" fmla="*/ 381 h 558"/>
                  <a:gd name="T40" fmla="*/ 111 w 314"/>
                  <a:gd name="T41" fmla="*/ 407 h 558"/>
                  <a:gd name="T42" fmla="*/ 93 w 314"/>
                  <a:gd name="T43" fmla="*/ 432 h 558"/>
                  <a:gd name="T44" fmla="*/ 111 w 314"/>
                  <a:gd name="T45" fmla="*/ 456 h 558"/>
                  <a:gd name="T46" fmla="*/ 145 w 314"/>
                  <a:gd name="T47" fmla="*/ 472 h 558"/>
                  <a:gd name="T48" fmla="*/ 171 w 314"/>
                  <a:gd name="T49" fmla="*/ 510 h 558"/>
                  <a:gd name="T50" fmla="*/ 177 w 314"/>
                  <a:gd name="T51" fmla="*/ 522 h 558"/>
                  <a:gd name="T52" fmla="*/ 171 w 314"/>
                  <a:gd name="T53" fmla="*/ 532 h 558"/>
                  <a:gd name="T54" fmla="*/ 191 w 314"/>
                  <a:gd name="T55" fmla="*/ 558 h 558"/>
                  <a:gd name="T56" fmla="*/ 197 w 314"/>
                  <a:gd name="T57" fmla="*/ 554 h 558"/>
                  <a:gd name="T58" fmla="*/ 203 w 314"/>
                  <a:gd name="T59" fmla="*/ 540 h 558"/>
                  <a:gd name="T60" fmla="*/ 225 w 314"/>
                  <a:gd name="T61" fmla="*/ 536 h 558"/>
                  <a:gd name="T62" fmla="*/ 246 w 314"/>
                  <a:gd name="T63" fmla="*/ 548 h 558"/>
                  <a:gd name="T64" fmla="*/ 252 w 314"/>
                  <a:gd name="T65" fmla="*/ 524 h 558"/>
                  <a:gd name="T66" fmla="*/ 258 w 314"/>
                  <a:gd name="T67" fmla="*/ 508 h 558"/>
                  <a:gd name="T68" fmla="*/ 284 w 314"/>
                  <a:gd name="T69" fmla="*/ 500 h 558"/>
                  <a:gd name="T70" fmla="*/ 274 w 314"/>
                  <a:gd name="T71" fmla="*/ 486 h 558"/>
                  <a:gd name="T72" fmla="*/ 280 w 314"/>
                  <a:gd name="T73" fmla="*/ 476 h 558"/>
                  <a:gd name="T74" fmla="*/ 282 w 314"/>
                  <a:gd name="T75" fmla="*/ 470 h 558"/>
                  <a:gd name="T76" fmla="*/ 280 w 314"/>
                  <a:gd name="T77" fmla="*/ 462 h 558"/>
                  <a:gd name="T78" fmla="*/ 286 w 314"/>
                  <a:gd name="T79" fmla="*/ 430 h 558"/>
                  <a:gd name="T80" fmla="*/ 304 w 314"/>
                  <a:gd name="T81" fmla="*/ 401 h 558"/>
                  <a:gd name="T82" fmla="*/ 316 w 314"/>
                  <a:gd name="T83" fmla="*/ 375 h 558"/>
                  <a:gd name="T84" fmla="*/ 304 w 314"/>
                  <a:gd name="T85" fmla="*/ 337 h 558"/>
                  <a:gd name="T86" fmla="*/ 304 w 314"/>
                  <a:gd name="T87" fmla="*/ 315 h 558"/>
                  <a:gd name="T88" fmla="*/ 288 w 314"/>
                  <a:gd name="T89" fmla="*/ 74 h 558"/>
                  <a:gd name="T90" fmla="*/ 282 w 314"/>
                  <a:gd name="T91" fmla="*/ 66 h 558"/>
                  <a:gd name="T92" fmla="*/ 274 w 314"/>
                  <a:gd name="T93" fmla="*/ 38 h 558"/>
                  <a:gd name="T94" fmla="*/ 260 w 314"/>
                  <a:gd name="T95" fmla="*/ 18 h 55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14" h="558">
                    <a:moveTo>
                      <a:pt x="258" y="0"/>
                    </a:moveTo>
                    <a:lnTo>
                      <a:pt x="52" y="14"/>
                    </a:lnTo>
                    <a:lnTo>
                      <a:pt x="56" y="18"/>
                    </a:lnTo>
                    <a:lnTo>
                      <a:pt x="70" y="30"/>
                    </a:lnTo>
                    <a:lnTo>
                      <a:pt x="72" y="38"/>
                    </a:lnTo>
                    <a:lnTo>
                      <a:pt x="86" y="46"/>
                    </a:lnTo>
                    <a:lnTo>
                      <a:pt x="92" y="64"/>
                    </a:lnTo>
                    <a:lnTo>
                      <a:pt x="90" y="72"/>
                    </a:lnTo>
                    <a:lnTo>
                      <a:pt x="86" y="82"/>
                    </a:lnTo>
                    <a:lnTo>
                      <a:pt x="80" y="88"/>
                    </a:lnTo>
                    <a:lnTo>
                      <a:pt x="80" y="96"/>
                    </a:lnTo>
                    <a:lnTo>
                      <a:pt x="68" y="110"/>
                    </a:lnTo>
                    <a:lnTo>
                      <a:pt x="56" y="114"/>
                    </a:lnTo>
                    <a:lnTo>
                      <a:pt x="52" y="118"/>
                    </a:lnTo>
                    <a:lnTo>
                      <a:pt x="36" y="120"/>
                    </a:lnTo>
                    <a:lnTo>
                      <a:pt x="30" y="124"/>
                    </a:lnTo>
                    <a:lnTo>
                      <a:pt x="24" y="134"/>
                    </a:lnTo>
                    <a:lnTo>
                      <a:pt x="26" y="142"/>
                    </a:lnTo>
                    <a:lnTo>
                      <a:pt x="34" y="152"/>
                    </a:lnTo>
                    <a:lnTo>
                      <a:pt x="38" y="158"/>
                    </a:lnTo>
                    <a:lnTo>
                      <a:pt x="34" y="172"/>
                    </a:lnTo>
                    <a:lnTo>
                      <a:pt x="24" y="198"/>
                    </a:lnTo>
                    <a:lnTo>
                      <a:pt x="12" y="204"/>
                    </a:lnTo>
                    <a:lnTo>
                      <a:pt x="8" y="212"/>
                    </a:lnTo>
                    <a:lnTo>
                      <a:pt x="10" y="220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0" y="244"/>
                    </a:lnTo>
                    <a:lnTo>
                      <a:pt x="0" y="262"/>
                    </a:lnTo>
                    <a:lnTo>
                      <a:pt x="8" y="278"/>
                    </a:lnTo>
                    <a:lnTo>
                      <a:pt x="8" y="286"/>
                    </a:lnTo>
                    <a:lnTo>
                      <a:pt x="30" y="312"/>
                    </a:lnTo>
                    <a:lnTo>
                      <a:pt x="54" y="330"/>
                    </a:lnTo>
                    <a:lnTo>
                      <a:pt x="60" y="336"/>
                    </a:lnTo>
                    <a:lnTo>
                      <a:pt x="72" y="372"/>
                    </a:lnTo>
                    <a:lnTo>
                      <a:pt x="76" y="376"/>
                    </a:lnTo>
                    <a:lnTo>
                      <a:pt x="84" y="368"/>
                    </a:lnTo>
                    <a:lnTo>
                      <a:pt x="90" y="364"/>
                    </a:lnTo>
                    <a:lnTo>
                      <a:pt x="108" y="374"/>
                    </a:lnTo>
                    <a:lnTo>
                      <a:pt x="112" y="380"/>
                    </a:lnTo>
                    <a:lnTo>
                      <a:pt x="108" y="392"/>
                    </a:lnTo>
                    <a:lnTo>
                      <a:pt x="110" y="406"/>
                    </a:lnTo>
                    <a:lnTo>
                      <a:pt x="96" y="424"/>
                    </a:lnTo>
                    <a:lnTo>
                      <a:pt x="92" y="430"/>
                    </a:lnTo>
                    <a:lnTo>
                      <a:pt x="98" y="440"/>
                    </a:lnTo>
                    <a:lnTo>
                      <a:pt x="110" y="454"/>
                    </a:lnTo>
                    <a:lnTo>
                      <a:pt x="132" y="468"/>
                    </a:lnTo>
                    <a:lnTo>
                      <a:pt x="144" y="470"/>
                    </a:lnTo>
                    <a:lnTo>
                      <a:pt x="166" y="490"/>
                    </a:lnTo>
                    <a:lnTo>
                      <a:pt x="170" y="508"/>
                    </a:lnTo>
                    <a:lnTo>
                      <a:pt x="178" y="516"/>
                    </a:lnTo>
                    <a:lnTo>
                      <a:pt x="176" y="520"/>
                    </a:lnTo>
                    <a:lnTo>
                      <a:pt x="170" y="526"/>
                    </a:lnTo>
                    <a:lnTo>
                      <a:pt x="170" y="530"/>
                    </a:lnTo>
                    <a:lnTo>
                      <a:pt x="186" y="558"/>
                    </a:lnTo>
                    <a:lnTo>
                      <a:pt x="190" y="556"/>
                    </a:lnTo>
                    <a:lnTo>
                      <a:pt x="190" y="552"/>
                    </a:lnTo>
                    <a:lnTo>
                      <a:pt x="196" y="552"/>
                    </a:lnTo>
                    <a:lnTo>
                      <a:pt x="198" y="554"/>
                    </a:lnTo>
                    <a:lnTo>
                      <a:pt x="202" y="538"/>
                    </a:lnTo>
                    <a:lnTo>
                      <a:pt x="212" y="532"/>
                    </a:lnTo>
                    <a:lnTo>
                      <a:pt x="224" y="534"/>
                    </a:lnTo>
                    <a:lnTo>
                      <a:pt x="234" y="540"/>
                    </a:lnTo>
                    <a:lnTo>
                      <a:pt x="244" y="546"/>
                    </a:lnTo>
                    <a:lnTo>
                      <a:pt x="254" y="542"/>
                    </a:lnTo>
                    <a:lnTo>
                      <a:pt x="250" y="522"/>
                    </a:lnTo>
                    <a:lnTo>
                      <a:pt x="248" y="510"/>
                    </a:lnTo>
                    <a:lnTo>
                      <a:pt x="256" y="506"/>
                    </a:lnTo>
                    <a:lnTo>
                      <a:pt x="280" y="500"/>
                    </a:lnTo>
                    <a:lnTo>
                      <a:pt x="282" y="498"/>
                    </a:lnTo>
                    <a:lnTo>
                      <a:pt x="274" y="488"/>
                    </a:lnTo>
                    <a:lnTo>
                      <a:pt x="272" y="484"/>
                    </a:lnTo>
                    <a:lnTo>
                      <a:pt x="276" y="482"/>
                    </a:lnTo>
                    <a:lnTo>
                      <a:pt x="278" y="474"/>
                    </a:lnTo>
                    <a:lnTo>
                      <a:pt x="280" y="470"/>
                    </a:lnTo>
                    <a:lnTo>
                      <a:pt x="280" y="468"/>
                    </a:lnTo>
                    <a:lnTo>
                      <a:pt x="278" y="464"/>
                    </a:lnTo>
                    <a:lnTo>
                      <a:pt x="278" y="460"/>
                    </a:lnTo>
                    <a:lnTo>
                      <a:pt x="284" y="442"/>
                    </a:lnTo>
                    <a:lnTo>
                      <a:pt x="284" y="428"/>
                    </a:lnTo>
                    <a:lnTo>
                      <a:pt x="294" y="416"/>
                    </a:lnTo>
                    <a:lnTo>
                      <a:pt x="302" y="400"/>
                    </a:lnTo>
                    <a:lnTo>
                      <a:pt x="302" y="394"/>
                    </a:lnTo>
                    <a:lnTo>
                      <a:pt x="314" y="374"/>
                    </a:lnTo>
                    <a:lnTo>
                      <a:pt x="310" y="354"/>
                    </a:lnTo>
                    <a:lnTo>
                      <a:pt x="302" y="336"/>
                    </a:lnTo>
                    <a:lnTo>
                      <a:pt x="304" y="324"/>
                    </a:lnTo>
                    <a:lnTo>
                      <a:pt x="302" y="314"/>
                    </a:lnTo>
                    <a:lnTo>
                      <a:pt x="306" y="310"/>
                    </a:lnTo>
                    <a:lnTo>
                      <a:pt x="286" y="74"/>
                    </a:lnTo>
                    <a:lnTo>
                      <a:pt x="282" y="72"/>
                    </a:lnTo>
                    <a:lnTo>
                      <a:pt x="280" y="66"/>
                    </a:lnTo>
                    <a:lnTo>
                      <a:pt x="274" y="46"/>
                    </a:lnTo>
                    <a:lnTo>
                      <a:pt x="272" y="38"/>
                    </a:lnTo>
                    <a:lnTo>
                      <a:pt x="264" y="32"/>
                    </a:lnTo>
                    <a:lnTo>
                      <a:pt x="258" y="18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27" name="Group 111">
                <a:extLst>
                  <a:ext uri="{FF2B5EF4-FFF2-40B4-BE49-F238E27FC236}">
                    <a16:creationId xmlns:a16="http://schemas.microsoft.com/office/drawing/2014/main" id="{76C41621-65F3-4C53-8836-0BD51C15655D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3484" y="1005"/>
                <a:ext cx="598" cy="564"/>
                <a:chOff x="3484" y="1005"/>
                <a:chExt cx="598" cy="564"/>
              </a:xfrm>
              <a:grpFill/>
            </p:grpSpPr>
            <p:sp>
              <p:nvSpPr>
                <p:cNvPr id="66" name="Freeform 20">
                  <a:extLst>
                    <a:ext uri="{FF2B5EF4-FFF2-40B4-BE49-F238E27FC236}">
                      <a16:creationId xmlns:a16="http://schemas.microsoft.com/office/drawing/2014/main" id="{128CB607-3ED6-4BDA-89AF-6A4F42A11B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773" y="1148"/>
                  <a:ext cx="309" cy="421"/>
                </a:xfrm>
                <a:custGeom>
                  <a:avLst/>
                  <a:gdLst>
                    <a:gd name="T0" fmla="*/ 156 w 306"/>
                    <a:gd name="T1" fmla="*/ 403 h 420"/>
                    <a:gd name="T2" fmla="*/ 252 w 306"/>
                    <a:gd name="T3" fmla="*/ 393 h 420"/>
                    <a:gd name="T4" fmla="*/ 267 w 306"/>
                    <a:gd name="T5" fmla="*/ 367 h 420"/>
                    <a:gd name="T6" fmla="*/ 269 w 306"/>
                    <a:gd name="T7" fmla="*/ 345 h 420"/>
                    <a:gd name="T8" fmla="*/ 287 w 306"/>
                    <a:gd name="T9" fmla="*/ 323 h 420"/>
                    <a:gd name="T10" fmla="*/ 289 w 306"/>
                    <a:gd name="T11" fmla="*/ 307 h 420"/>
                    <a:gd name="T12" fmla="*/ 297 w 306"/>
                    <a:gd name="T13" fmla="*/ 293 h 420"/>
                    <a:gd name="T14" fmla="*/ 301 w 306"/>
                    <a:gd name="T15" fmla="*/ 301 h 420"/>
                    <a:gd name="T16" fmla="*/ 309 w 306"/>
                    <a:gd name="T17" fmla="*/ 295 h 420"/>
                    <a:gd name="T18" fmla="*/ 307 w 306"/>
                    <a:gd name="T19" fmla="*/ 275 h 420"/>
                    <a:gd name="T20" fmla="*/ 305 w 306"/>
                    <a:gd name="T21" fmla="*/ 247 h 420"/>
                    <a:gd name="T22" fmla="*/ 279 w 306"/>
                    <a:gd name="T23" fmla="*/ 166 h 420"/>
                    <a:gd name="T24" fmla="*/ 248 w 306"/>
                    <a:gd name="T25" fmla="*/ 164 h 420"/>
                    <a:gd name="T26" fmla="*/ 212 w 306"/>
                    <a:gd name="T27" fmla="*/ 213 h 420"/>
                    <a:gd name="T28" fmla="*/ 208 w 306"/>
                    <a:gd name="T29" fmla="*/ 211 h 420"/>
                    <a:gd name="T30" fmla="*/ 194 w 306"/>
                    <a:gd name="T31" fmla="*/ 202 h 420"/>
                    <a:gd name="T32" fmla="*/ 194 w 306"/>
                    <a:gd name="T33" fmla="*/ 178 h 420"/>
                    <a:gd name="T34" fmla="*/ 212 w 306"/>
                    <a:gd name="T35" fmla="*/ 164 h 420"/>
                    <a:gd name="T36" fmla="*/ 214 w 306"/>
                    <a:gd name="T37" fmla="*/ 152 h 420"/>
                    <a:gd name="T38" fmla="*/ 222 w 306"/>
                    <a:gd name="T39" fmla="*/ 142 h 420"/>
                    <a:gd name="T40" fmla="*/ 228 w 306"/>
                    <a:gd name="T41" fmla="*/ 104 h 420"/>
                    <a:gd name="T42" fmla="*/ 220 w 306"/>
                    <a:gd name="T43" fmla="*/ 86 h 420"/>
                    <a:gd name="T44" fmla="*/ 210 w 306"/>
                    <a:gd name="T45" fmla="*/ 72 h 420"/>
                    <a:gd name="T46" fmla="*/ 220 w 306"/>
                    <a:gd name="T47" fmla="*/ 62 h 420"/>
                    <a:gd name="T48" fmla="*/ 212 w 306"/>
                    <a:gd name="T49" fmla="*/ 42 h 420"/>
                    <a:gd name="T50" fmla="*/ 178 w 306"/>
                    <a:gd name="T51" fmla="*/ 26 h 420"/>
                    <a:gd name="T52" fmla="*/ 151 w 306"/>
                    <a:gd name="T53" fmla="*/ 16 h 420"/>
                    <a:gd name="T54" fmla="*/ 123 w 306"/>
                    <a:gd name="T55" fmla="*/ 8 h 420"/>
                    <a:gd name="T56" fmla="*/ 107 w 306"/>
                    <a:gd name="T57" fmla="*/ 6 h 420"/>
                    <a:gd name="T58" fmla="*/ 91 w 306"/>
                    <a:gd name="T59" fmla="*/ 24 h 420"/>
                    <a:gd name="T60" fmla="*/ 93 w 306"/>
                    <a:gd name="T61" fmla="*/ 38 h 420"/>
                    <a:gd name="T62" fmla="*/ 97 w 306"/>
                    <a:gd name="T63" fmla="*/ 44 h 420"/>
                    <a:gd name="T64" fmla="*/ 89 w 306"/>
                    <a:gd name="T65" fmla="*/ 48 h 420"/>
                    <a:gd name="T66" fmla="*/ 77 w 306"/>
                    <a:gd name="T67" fmla="*/ 58 h 420"/>
                    <a:gd name="T68" fmla="*/ 75 w 306"/>
                    <a:gd name="T69" fmla="*/ 80 h 420"/>
                    <a:gd name="T70" fmla="*/ 71 w 306"/>
                    <a:gd name="T71" fmla="*/ 102 h 420"/>
                    <a:gd name="T72" fmla="*/ 59 w 306"/>
                    <a:gd name="T73" fmla="*/ 98 h 420"/>
                    <a:gd name="T74" fmla="*/ 59 w 306"/>
                    <a:gd name="T75" fmla="*/ 76 h 420"/>
                    <a:gd name="T76" fmla="*/ 59 w 306"/>
                    <a:gd name="T77" fmla="*/ 70 h 420"/>
                    <a:gd name="T78" fmla="*/ 50 w 306"/>
                    <a:gd name="T79" fmla="*/ 78 h 420"/>
                    <a:gd name="T80" fmla="*/ 46 w 306"/>
                    <a:gd name="T81" fmla="*/ 94 h 420"/>
                    <a:gd name="T82" fmla="*/ 32 w 306"/>
                    <a:gd name="T83" fmla="*/ 102 h 420"/>
                    <a:gd name="T84" fmla="*/ 28 w 306"/>
                    <a:gd name="T85" fmla="*/ 114 h 420"/>
                    <a:gd name="T86" fmla="*/ 18 w 306"/>
                    <a:gd name="T87" fmla="*/ 140 h 420"/>
                    <a:gd name="T88" fmla="*/ 16 w 306"/>
                    <a:gd name="T89" fmla="*/ 168 h 420"/>
                    <a:gd name="T90" fmla="*/ 4 w 306"/>
                    <a:gd name="T91" fmla="*/ 188 h 420"/>
                    <a:gd name="T92" fmla="*/ 12 w 306"/>
                    <a:gd name="T93" fmla="*/ 221 h 420"/>
                    <a:gd name="T94" fmla="*/ 14 w 306"/>
                    <a:gd name="T95" fmla="*/ 245 h 420"/>
                    <a:gd name="T96" fmla="*/ 38 w 306"/>
                    <a:gd name="T97" fmla="*/ 297 h 420"/>
                    <a:gd name="T98" fmla="*/ 42 w 306"/>
                    <a:gd name="T99" fmla="*/ 323 h 420"/>
                    <a:gd name="T100" fmla="*/ 40 w 306"/>
                    <a:gd name="T101" fmla="*/ 329 h 420"/>
                    <a:gd name="T102" fmla="*/ 34 w 306"/>
                    <a:gd name="T103" fmla="*/ 365 h 420"/>
                    <a:gd name="T104" fmla="*/ 16 w 306"/>
                    <a:gd name="T105" fmla="*/ 409 h 420"/>
                    <a:gd name="T106" fmla="*/ 0 w 306"/>
                    <a:gd name="T107" fmla="*/ 421 h 42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306" h="420">
                      <a:moveTo>
                        <a:pt x="0" y="420"/>
                      </a:moveTo>
                      <a:lnTo>
                        <a:pt x="154" y="402"/>
                      </a:lnTo>
                      <a:lnTo>
                        <a:pt x="154" y="406"/>
                      </a:lnTo>
                      <a:lnTo>
                        <a:pt x="250" y="392"/>
                      </a:lnTo>
                      <a:lnTo>
                        <a:pt x="252" y="388"/>
                      </a:lnTo>
                      <a:lnTo>
                        <a:pt x="264" y="366"/>
                      </a:lnTo>
                      <a:lnTo>
                        <a:pt x="268" y="360"/>
                      </a:lnTo>
                      <a:lnTo>
                        <a:pt x="266" y="344"/>
                      </a:lnTo>
                      <a:lnTo>
                        <a:pt x="272" y="330"/>
                      </a:lnTo>
                      <a:lnTo>
                        <a:pt x="284" y="322"/>
                      </a:lnTo>
                      <a:lnTo>
                        <a:pt x="284" y="308"/>
                      </a:lnTo>
                      <a:lnTo>
                        <a:pt x="286" y="306"/>
                      </a:lnTo>
                      <a:lnTo>
                        <a:pt x="286" y="298"/>
                      </a:lnTo>
                      <a:lnTo>
                        <a:pt x="294" y="292"/>
                      </a:lnTo>
                      <a:lnTo>
                        <a:pt x="296" y="300"/>
                      </a:lnTo>
                      <a:lnTo>
                        <a:pt x="298" y="300"/>
                      </a:lnTo>
                      <a:lnTo>
                        <a:pt x="304" y="298"/>
                      </a:lnTo>
                      <a:lnTo>
                        <a:pt x="306" y="294"/>
                      </a:lnTo>
                      <a:lnTo>
                        <a:pt x="306" y="286"/>
                      </a:lnTo>
                      <a:lnTo>
                        <a:pt x="304" y="274"/>
                      </a:lnTo>
                      <a:lnTo>
                        <a:pt x="306" y="256"/>
                      </a:lnTo>
                      <a:lnTo>
                        <a:pt x="302" y="246"/>
                      </a:lnTo>
                      <a:lnTo>
                        <a:pt x="298" y="222"/>
                      </a:lnTo>
                      <a:lnTo>
                        <a:pt x="276" y="166"/>
                      </a:lnTo>
                      <a:lnTo>
                        <a:pt x="256" y="158"/>
                      </a:lnTo>
                      <a:lnTo>
                        <a:pt x="246" y="164"/>
                      </a:lnTo>
                      <a:lnTo>
                        <a:pt x="236" y="174"/>
                      </a:lnTo>
                      <a:lnTo>
                        <a:pt x="210" y="212"/>
                      </a:lnTo>
                      <a:lnTo>
                        <a:pt x="208" y="212"/>
                      </a:lnTo>
                      <a:lnTo>
                        <a:pt x="206" y="210"/>
                      </a:lnTo>
                      <a:lnTo>
                        <a:pt x="196" y="206"/>
                      </a:lnTo>
                      <a:lnTo>
                        <a:pt x="192" y="202"/>
                      </a:lnTo>
                      <a:lnTo>
                        <a:pt x="190" y="194"/>
                      </a:lnTo>
                      <a:lnTo>
                        <a:pt x="192" y="178"/>
                      </a:lnTo>
                      <a:lnTo>
                        <a:pt x="196" y="172"/>
                      </a:lnTo>
                      <a:lnTo>
                        <a:pt x="210" y="164"/>
                      </a:lnTo>
                      <a:lnTo>
                        <a:pt x="212" y="158"/>
                      </a:lnTo>
                      <a:lnTo>
                        <a:pt x="212" y="152"/>
                      </a:lnTo>
                      <a:lnTo>
                        <a:pt x="214" y="146"/>
                      </a:lnTo>
                      <a:lnTo>
                        <a:pt x="220" y="142"/>
                      </a:lnTo>
                      <a:lnTo>
                        <a:pt x="226" y="130"/>
                      </a:lnTo>
                      <a:lnTo>
                        <a:pt x="226" y="104"/>
                      </a:lnTo>
                      <a:lnTo>
                        <a:pt x="222" y="92"/>
                      </a:lnTo>
                      <a:lnTo>
                        <a:pt x="218" y="86"/>
                      </a:lnTo>
                      <a:lnTo>
                        <a:pt x="210" y="76"/>
                      </a:lnTo>
                      <a:lnTo>
                        <a:pt x="208" y="72"/>
                      </a:lnTo>
                      <a:lnTo>
                        <a:pt x="210" y="66"/>
                      </a:lnTo>
                      <a:lnTo>
                        <a:pt x="218" y="62"/>
                      </a:lnTo>
                      <a:lnTo>
                        <a:pt x="220" y="60"/>
                      </a:lnTo>
                      <a:lnTo>
                        <a:pt x="210" y="42"/>
                      </a:lnTo>
                      <a:lnTo>
                        <a:pt x="202" y="38"/>
                      </a:lnTo>
                      <a:lnTo>
                        <a:pt x="176" y="26"/>
                      </a:lnTo>
                      <a:lnTo>
                        <a:pt x="158" y="24"/>
                      </a:lnTo>
                      <a:lnTo>
                        <a:pt x="150" y="16"/>
                      </a:lnTo>
                      <a:lnTo>
                        <a:pt x="136" y="12"/>
                      </a:lnTo>
                      <a:lnTo>
                        <a:pt x="122" y="8"/>
                      </a:lnTo>
                      <a:lnTo>
                        <a:pt x="112" y="0"/>
                      </a:lnTo>
                      <a:lnTo>
                        <a:pt x="106" y="6"/>
                      </a:lnTo>
                      <a:lnTo>
                        <a:pt x="98" y="10"/>
                      </a:lnTo>
                      <a:lnTo>
                        <a:pt x="90" y="24"/>
                      </a:lnTo>
                      <a:lnTo>
                        <a:pt x="90" y="34"/>
                      </a:lnTo>
                      <a:lnTo>
                        <a:pt x="92" y="38"/>
                      </a:lnTo>
                      <a:lnTo>
                        <a:pt x="94" y="40"/>
                      </a:lnTo>
                      <a:lnTo>
                        <a:pt x="96" y="44"/>
                      </a:lnTo>
                      <a:lnTo>
                        <a:pt x="94" y="46"/>
                      </a:lnTo>
                      <a:lnTo>
                        <a:pt x="88" y="48"/>
                      </a:lnTo>
                      <a:lnTo>
                        <a:pt x="82" y="52"/>
                      </a:lnTo>
                      <a:lnTo>
                        <a:pt x="76" y="58"/>
                      </a:lnTo>
                      <a:lnTo>
                        <a:pt x="72" y="68"/>
                      </a:lnTo>
                      <a:lnTo>
                        <a:pt x="74" y="80"/>
                      </a:lnTo>
                      <a:lnTo>
                        <a:pt x="76" y="90"/>
                      </a:lnTo>
                      <a:lnTo>
                        <a:pt x="70" y="102"/>
                      </a:lnTo>
                      <a:lnTo>
                        <a:pt x="60" y="106"/>
                      </a:lnTo>
                      <a:lnTo>
                        <a:pt x="58" y="98"/>
                      </a:lnTo>
                      <a:lnTo>
                        <a:pt x="62" y="88"/>
                      </a:lnTo>
                      <a:lnTo>
                        <a:pt x="58" y="76"/>
                      </a:lnTo>
                      <a:lnTo>
                        <a:pt x="60" y="72"/>
                      </a:lnTo>
                      <a:lnTo>
                        <a:pt x="58" y="70"/>
                      </a:lnTo>
                      <a:lnTo>
                        <a:pt x="56" y="72"/>
                      </a:lnTo>
                      <a:lnTo>
                        <a:pt x="50" y="78"/>
                      </a:lnTo>
                      <a:lnTo>
                        <a:pt x="50" y="90"/>
                      </a:lnTo>
                      <a:lnTo>
                        <a:pt x="46" y="94"/>
                      </a:lnTo>
                      <a:lnTo>
                        <a:pt x="40" y="94"/>
                      </a:lnTo>
                      <a:lnTo>
                        <a:pt x="32" y="102"/>
                      </a:lnTo>
                      <a:lnTo>
                        <a:pt x="28" y="110"/>
                      </a:lnTo>
                      <a:lnTo>
                        <a:pt x="28" y="114"/>
                      </a:lnTo>
                      <a:lnTo>
                        <a:pt x="18" y="124"/>
                      </a:lnTo>
                      <a:lnTo>
                        <a:pt x="18" y="140"/>
                      </a:lnTo>
                      <a:lnTo>
                        <a:pt x="18" y="156"/>
                      </a:lnTo>
                      <a:lnTo>
                        <a:pt x="16" y="168"/>
                      </a:lnTo>
                      <a:lnTo>
                        <a:pt x="10" y="182"/>
                      </a:lnTo>
                      <a:lnTo>
                        <a:pt x="4" y="188"/>
                      </a:lnTo>
                      <a:lnTo>
                        <a:pt x="6" y="196"/>
                      </a:lnTo>
                      <a:lnTo>
                        <a:pt x="12" y="220"/>
                      </a:lnTo>
                      <a:lnTo>
                        <a:pt x="8" y="232"/>
                      </a:lnTo>
                      <a:lnTo>
                        <a:pt x="14" y="244"/>
                      </a:lnTo>
                      <a:lnTo>
                        <a:pt x="28" y="272"/>
                      </a:lnTo>
                      <a:lnTo>
                        <a:pt x="38" y="296"/>
                      </a:lnTo>
                      <a:lnTo>
                        <a:pt x="38" y="318"/>
                      </a:lnTo>
                      <a:lnTo>
                        <a:pt x="42" y="322"/>
                      </a:lnTo>
                      <a:lnTo>
                        <a:pt x="42" y="326"/>
                      </a:lnTo>
                      <a:lnTo>
                        <a:pt x="40" y="328"/>
                      </a:lnTo>
                      <a:lnTo>
                        <a:pt x="38" y="350"/>
                      </a:lnTo>
                      <a:lnTo>
                        <a:pt x="34" y="364"/>
                      </a:lnTo>
                      <a:lnTo>
                        <a:pt x="28" y="378"/>
                      </a:lnTo>
                      <a:lnTo>
                        <a:pt x="16" y="408"/>
                      </a:lnTo>
                      <a:lnTo>
                        <a:pt x="4" y="416"/>
                      </a:lnTo>
                      <a:lnTo>
                        <a:pt x="0" y="42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7" name="Freeform 21">
                  <a:extLst>
                    <a:ext uri="{FF2B5EF4-FFF2-40B4-BE49-F238E27FC236}">
                      <a16:creationId xmlns:a16="http://schemas.microsoft.com/office/drawing/2014/main" id="{7273A8BC-55A6-46AE-B079-F585C44D793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84" y="1005"/>
                  <a:ext cx="484" cy="236"/>
                </a:xfrm>
                <a:custGeom>
                  <a:avLst/>
                  <a:gdLst>
                    <a:gd name="T0" fmla="*/ 22 w 480"/>
                    <a:gd name="T1" fmla="*/ 92 h 236"/>
                    <a:gd name="T2" fmla="*/ 46 w 480"/>
                    <a:gd name="T3" fmla="*/ 74 h 236"/>
                    <a:gd name="T4" fmla="*/ 113 w 480"/>
                    <a:gd name="T5" fmla="*/ 32 h 236"/>
                    <a:gd name="T6" fmla="*/ 151 w 480"/>
                    <a:gd name="T7" fmla="*/ 4 h 236"/>
                    <a:gd name="T8" fmla="*/ 179 w 480"/>
                    <a:gd name="T9" fmla="*/ 4 h 236"/>
                    <a:gd name="T10" fmla="*/ 159 w 480"/>
                    <a:gd name="T11" fmla="*/ 22 h 236"/>
                    <a:gd name="T12" fmla="*/ 135 w 480"/>
                    <a:gd name="T13" fmla="*/ 50 h 236"/>
                    <a:gd name="T14" fmla="*/ 135 w 480"/>
                    <a:gd name="T15" fmla="*/ 68 h 236"/>
                    <a:gd name="T16" fmla="*/ 163 w 480"/>
                    <a:gd name="T17" fmla="*/ 56 h 236"/>
                    <a:gd name="T18" fmla="*/ 230 w 480"/>
                    <a:gd name="T19" fmla="*/ 90 h 236"/>
                    <a:gd name="T20" fmla="*/ 250 w 480"/>
                    <a:gd name="T21" fmla="*/ 94 h 236"/>
                    <a:gd name="T22" fmla="*/ 258 w 480"/>
                    <a:gd name="T23" fmla="*/ 98 h 236"/>
                    <a:gd name="T24" fmla="*/ 284 w 480"/>
                    <a:gd name="T25" fmla="*/ 76 h 236"/>
                    <a:gd name="T26" fmla="*/ 371 w 480"/>
                    <a:gd name="T27" fmla="*/ 48 h 236"/>
                    <a:gd name="T28" fmla="*/ 371 w 480"/>
                    <a:gd name="T29" fmla="*/ 66 h 236"/>
                    <a:gd name="T30" fmla="*/ 385 w 480"/>
                    <a:gd name="T31" fmla="*/ 80 h 236"/>
                    <a:gd name="T32" fmla="*/ 421 w 480"/>
                    <a:gd name="T33" fmla="*/ 76 h 236"/>
                    <a:gd name="T34" fmla="*/ 444 w 480"/>
                    <a:gd name="T35" fmla="*/ 104 h 236"/>
                    <a:gd name="T36" fmla="*/ 480 w 480"/>
                    <a:gd name="T37" fmla="*/ 108 h 236"/>
                    <a:gd name="T38" fmla="*/ 478 w 480"/>
                    <a:gd name="T39" fmla="*/ 122 h 236"/>
                    <a:gd name="T40" fmla="*/ 460 w 480"/>
                    <a:gd name="T41" fmla="*/ 120 h 236"/>
                    <a:gd name="T42" fmla="*/ 440 w 480"/>
                    <a:gd name="T43" fmla="*/ 122 h 236"/>
                    <a:gd name="T44" fmla="*/ 407 w 480"/>
                    <a:gd name="T45" fmla="*/ 122 h 236"/>
                    <a:gd name="T46" fmla="*/ 403 w 480"/>
                    <a:gd name="T47" fmla="*/ 138 h 236"/>
                    <a:gd name="T48" fmla="*/ 361 w 480"/>
                    <a:gd name="T49" fmla="*/ 124 h 236"/>
                    <a:gd name="T50" fmla="*/ 333 w 480"/>
                    <a:gd name="T51" fmla="*/ 136 h 236"/>
                    <a:gd name="T52" fmla="*/ 319 w 480"/>
                    <a:gd name="T53" fmla="*/ 142 h 236"/>
                    <a:gd name="T54" fmla="*/ 294 w 480"/>
                    <a:gd name="T55" fmla="*/ 144 h 236"/>
                    <a:gd name="T56" fmla="*/ 268 w 480"/>
                    <a:gd name="T57" fmla="*/ 176 h 236"/>
                    <a:gd name="T58" fmla="*/ 272 w 480"/>
                    <a:gd name="T59" fmla="*/ 160 h 236"/>
                    <a:gd name="T60" fmla="*/ 256 w 480"/>
                    <a:gd name="T61" fmla="*/ 166 h 236"/>
                    <a:gd name="T62" fmla="*/ 244 w 480"/>
                    <a:gd name="T63" fmla="*/ 154 h 236"/>
                    <a:gd name="T64" fmla="*/ 230 w 480"/>
                    <a:gd name="T65" fmla="*/ 184 h 236"/>
                    <a:gd name="T66" fmla="*/ 212 w 480"/>
                    <a:gd name="T67" fmla="*/ 222 h 236"/>
                    <a:gd name="T68" fmla="*/ 200 w 480"/>
                    <a:gd name="T69" fmla="*/ 230 h 236"/>
                    <a:gd name="T70" fmla="*/ 202 w 480"/>
                    <a:gd name="T71" fmla="*/ 208 h 236"/>
                    <a:gd name="T72" fmla="*/ 186 w 480"/>
                    <a:gd name="T73" fmla="*/ 208 h 236"/>
                    <a:gd name="T74" fmla="*/ 173 w 480"/>
                    <a:gd name="T75" fmla="*/ 168 h 236"/>
                    <a:gd name="T76" fmla="*/ 167 w 480"/>
                    <a:gd name="T77" fmla="*/ 160 h 236"/>
                    <a:gd name="T78" fmla="*/ 135 w 480"/>
                    <a:gd name="T79" fmla="*/ 150 h 236"/>
                    <a:gd name="T80" fmla="*/ 125 w 480"/>
                    <a:gd name="T81" fmla="*/ 150 h 236"/>
                    <a:gd name="T82" fmla="*/ 93 w 480"/>
                    <a:gd name="T83" fmla="*/ 138 h 236"/>
                    <a:gd name="T84" fmla="*/ 20 w 480"/>
                    <a:gd name="T85" fmla="*/ 112 h 236"/>
                    <a:gd name="T86" fmla="*/ 0 w 480"/>
                    <a:gd name="T87" fmla="*/ 100 h 2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480" h="236">
                      <a:moveTo>
                        <a:pt x="0" y="100"/>
                      </a:moveTo>
                      <a:lnTo>
                        <a:pt x="14" y="96"/>
                      </a:lnTo>
                      <a:lnTo>
                        <a:pt x="22" y="92"/>
                      </a:lnTo>
                      <a:lnTo>
                        <a:pt x="36" y="82"/>
                      </a:lnTo>
                      <a:lnTo>
                        <a:pt x="40" y="76"/>
                      </a:lnTo>
                      <a:lnTo>
                        <a:pt x="46" y="74"/>
                      </a:lnTo>
                      <a:lnTo>
                        <a:pt x="72" y="64"/>
                      </a:lnTo>
                      <a:lnTo>
                        <a:pt x="90" y="54"/>
                      </a:lnTo>
                      <a:lnTo>
                        <a:pt x="112" y="32"/>
                      </a:lnTo>
                      <a:lnTo>
                        <a:pt x="120" y="30"/>
                      </a:lnTo>
                      <a:lnTo>
                        <a:pt x="138" y="10"/>
                      </a:lnTo>
                      <a:lnTo>
                        <a:pt x="150" y="4"/>
                      </a:lnTo>
                      <a:lnTo>
                        <a:pt x="172" y="0"/>
                      </a:lnTo>
                      <a:lnTo>
                        <a:pt x="176" y="2"/>
                      </a:lnTo>
                      <a:lnTo>
                        <a:pt x="178" y="4"/>
                      </a:lnTo>
                      <a:lnTo>
                        <a:pt x="166" y="12"/>
                      </a:lnTo>
                      <a:lnTo>
                        <a:pt x="162" y="12"/>
                      </a:lnTo>
                      <a:lnTo>
                        <a:pt x="158" y="22"/>
                      </a:lnTo>
                      <a:lnTo>
                        <a:pt x="144" y="38"/>
                      </a:lnTo>
                      <a:lnTo>
                        <a:pt x="138" y="44"/>
                      </a:lnTo>
                      <a:lnTo>
                        <a:pt x="134" y="50"/>
                      </a:lnTo>
                      <a:lnTo>
                        <a:pt x="130" y="64"/>
                      </a:lnTo>
                      <a:lnTo>
                        <a:pt x="132" y="74"/>
                      </a:lnTo>
                      <a:lnTo>
                        <a:pt x="134" y="68"/>
                      </a:lnTo>
                      <a:lnTo>
                        <a:pt x="148" y="58"/>
                      </a:lnTo>
                      <a:lnTo>
                        <a:pt x="156" y="58"/>
                      </a:lnTo>
                      <a:lnTo>
                        <a:pt x="162" y="56"/>
                      </a:lnTo>
                      <a:lnTo>
                        <a:pt x="190" y="68"/>
                      </a:lnTo>
                      <a:lnTo>
                        <a:pt x="210" y="92"/>
                      </a:lnTo>
                      <a:lnTo>
                        <a:pt x="228" y="90"/>
                      </a:lnTo>
                      <a:lnTo>
                        <a:pt x="236" y="90"/>
                      </a:lnTo>
                      <a:lnTo>
                        <a:pt x="242" y="94"/>
                      </a:lnTo>
                      <a:lnTo>
                        <a:pt x="248" y="94"/>
                      </a:lnTo>
                      <a:lnTo>
                        <a:pt x="250" y="94"/>
                      </a:lnTo>
                      <a:lnTo>
                        <a:pt x="256" y="96"/>
                      </a:lnTo>
                      <a:lnTo>
                        <a:pt x="256" y="98"/>
                      </a:lnTo>
                      <a:lnTo>
                        <a:pt x="260" y="96"/>
                      </a:lnTo>
                      <a:lnTo>
                        <a:pt x="264" y="90"/>
                      </a:lnTo>
                      <a:lnTo>
                        <a:pt x="282" y="76"/>
                      </a:lnTo>
                      <a:lnTo>
                        <a:pt x="344" y="60"/>
                      </a:lnTo>
                      <a:lnTo>
                        <a:pt x="362" y="50"/>
                      </a:lnTo>
                      <a:lnTo>
                        <a:pt x="368" y="48"/>
                      </a:lnTo>
                      <a:lnTo>
                        <a:pt x="372" y="52"/>
                      </a:lnTo>
                      <a:lnTo>
                        <a:pt x="368" y="60"/>
                      </a:lnTo>
                      <a:lnTo>
                        <a:pt x="368" y="66"/>
                      </a:lnTo>
                      <a:lnTo>
                        <a:pt x="376" y="80"/>
                      </a:lnTo>
                      <a:lnTo>
                        <a:pt x="380" y="82"/>
                      </a:lnTo>
                      <a:lnTo>
                        <a:pt x="382" y="80"/>
                      </a:lnTo>
                      <a:lnTo>
                        <a:pt x="394" y="82"/>
                      </a:lnTo>
                      <a:lnTo>
                        <a:pt x="398" y="78"/>
                      </a:lnTo>
                      <a:lnTo>
                        <a:pt x="418" y="76"/>
                      </a:lnTo>
                      <a:lnTo>
                        <a:pt x="426" y="82"/>
                      </a:lnTo>
                      <a:lnTo>
                        <a:pt x="434" y="98"/>
                      </a:lnTo>
                      <a:lnTo>
                        <a:pt x="440" y="104"/>
                      </a:lnTo>
                      <a:lnTo>
                        <a:pt x="456" y="110"/>
                      </a:lnTo>
                      <a:lnTo>
                        <a:pt x="470" y="106"/>
                      </a:lnTo>
                      <a:lnTo>
                        <a:pt x="476" y="108"/>
                      </a:lnTo>
                      <a:lnTo>
                        <a:pt x="480" y="110"/>
                      </a:lnTo>
                      <a:lnTo>
                        <a:pt x="480" y="116"/>
                      </a:lnTo>
                      <a:lnTo>
                        <a:pt x="474" y="122"/>
                      </a:lnTo>
                      <a:lnTo>
                        <a:pt x="464" y="124"/>
                      </a:lnTo>
                      <a:lnTo>
                        <a:pt x="458" y="122"/>
                      </a:lnTo>
                      <a:lnTo>
                        <a:pt x="456" y="120"/>
                      </a:lnTo>
                      <a:lnTo>
                        <a:pt x="454" y="120"/>
                      </a:lnTo>
                      <a:lnTo>
                        <a:pt x="444" y="124"/>
                      </a:lnTo>
                      <a:lnTo>
                        <a:pt x="436" y="122"/>
                      </a:lnTo>
                      <a:lnTo>
                        <a:pt x="430" y="122"/>
                      </a:lnTo>
                      <a:lnTo>
                        <a:pt x="414" y="124"/>
                      </a:lnTo>
                      <a:lnTo>
                        <a:pt x="404" y="122"/>
                      </a:lnTo>
                      <a:lnTo>
                        <a:pt x="400" y="124"/>
                      </a:lnTo>
                      <a:lnTo>
                        <a:pt x="402" y="134"/>
                      </a:lnTo>
                      <a:lnTo>
                        <a:pt x="400" y="138"/>
                      </a:lnTo>
                      <a:lnTo>
                        <a:pt x="396" y="136"/>
                      </a:lnTo>
                      <a:lnTo>
                        <a:pt x="384" y="126"/>
                      </a:lnTo>
                      <a:lnTo>
                        <a:pt x="358" y="124"/>
                      </a:lnTo>
                      <a:lnTo>
                        <a:pt x="354" y="124"/>
                      </a:lnTo>
                      <a:lnTo>
                        <a:pt x="346" y="122"/>
                      </a:lnTo>
                      <a:lnTo>
                        <a:pt x="330" y="136"/>
                      </a:lnTo>
                      <a:lnTo>
                        <a:pt x="326" y="136"/>
                      </a:lnTo>
                      <a:lnTo>
                        <a:pt x="318" y="138"/>
                      </a:lnTo>
                      <a:lnTo>
                        <a:pt x="316" y="142"/>
                      </a:lnTo>
                      <a:lnTo>
                        <a:pt x="312" y="144"/>
                      </a:lnTo>
                      <a:lnTo>
                        <a:pt x="302" y="142"/>
                      </a:lnTo>
                      <a:lnTo>
                        <a:pt x="292" y="144"/>
                      </a:lnTo>
                      <a:lnTo>
                        <a:pt x="290" y="152"/>
                      </a:lnTo>
                      <a:lnTo>
                        <a:pt x="288" y="158"/>
                      </a:lnTo>
                      <a:lnTo>
                        <a:pt x="266" y="176"/>
                      </a:lnTo>
                      <a:lnTo>
                        <a:pt x="262" y="176"/>
                      </a:lnTo>
                      <a:lnTo>
                        <a:pt x="260" y="172"/>
                      </a:lnTo>
                      <a:lnTo>
                        <a:pt x="270" y="160"/>
                      </a:lnTo>
                      <a:lnTo>
                        <a:pt x="270" y="154"/>
                      </a:lnTo>
                      <a:lnTo>
                        <a:pt x="258" y="154"/>
                      </a:lnTo>
                      <a:lnTo>
                        <a:pt x="254" y="166"/>
                      </a:lnTo>
                      <a:lnTo>
                        <a:pt x="248" y="170"/>
                      </a:lnTo>
                      <a:lnTo>
                        <a:pt x="244" y="164"/>
                      </a:lnTo>
                      <a:lnTo>
                        <a:pt x="242" y="154"/>
                      </a:lnTo>
                      <a:lnTo>
                        <a:pt x="240" y="156"/>
                      </a:lnTo>
                      <a:lnTo>
                        <a:pt x="238" y="170"/>
                      </a:lnTo>
                      <a:lnTo>
                        <a:pt x="228" y="184"/>
                      </a:lnTo>
                      <a:lnTo>
                        <a:pt x="224" y="198"/>
                      </a:lnTo>
                      <a:lnTo>
                        <a:pt x="220" y="206"/>
                      </a:lnTo>
                      <a:lnTo>
                        <a:pt x="210" y="222"/>
                      </a:lnTo>
                      <a:lnTo>
                        <a:pt x="210" y="232"/>
                      </a:lnTo>
                      <a:lnTo>
                        <a:pt x="208" y="236"/>
                      </a:lnTo>
                      <a:lnTo>
                        <a:pt x="198" y="230"/>
                      </a:lnTo>
                      <a:lnTo>
                        <a:pt x="194" y="218"/>
                      </a:lnTo>
                      <a:lnTo>
                        <a:pt x="198" y="214"/>
                      </a:lnTo>
                      <a:lnTo>
                        <a:pt x="200" y="208"/>
                      </a:lnTo>
                      <a:lnTo>
                        <a:pt x="198" y="208"/>
                      </a:lnTo>
                      <a:lnTo>
                        <a:pt x="186" y="210"/>
                      </a:lnTo>
                      <a:lnTo>
                        <a:pt x="184" y="208"/>
                      </a:lnTo>
                      <a:lnTo>
                        <a:pt x="188" y="184"/>
                      </a:lnTo>
                      <a:lnTo>
                        <a:pt x="186" y="176"/>
                      </a:lnTo>
                      <a:lnTo>
                        <a:pt x="172" y="168"/>
                      </a:lnTo>
                      <a:lnTo>
                        <a:pt x="162" y="166"/>
                      </a:lnTo>
                      <a:lnTo>
                        <a:pt x="162" y="162"/>
                      </a:lnTo>
                      <a:lnTo>
                        <a:pt x="166" y="160"/>
                      </a:lnTo>
                      <a:lnTo>
                        <a:pt x="160" y="156"/>
                      </a:lnTo>
                      <a:lnTo>
                        <a:pt x="150" y="152"/>
                      </a:lnTo>
                      <a:lnTo>
                        <a:pt x="134" y="150"/>
                      </a:lnTo>
                      <a:lnTo>
                        <a:pt x="130" y="150"/>
                      </a:lnTo>
                      <a:lnTo>
                        <a:pt x="126" y="154"/>
                      </a:lnTo>
                      <a:lnTo>
                        <a:pt x="124" y="150"/>
                      </a:lnTo>
                      <a:lnTo>
                        <a:pt x="114" y="150"/>
                      </a:lnTo>
                      <a:lnTo>
                        <a:pt x="100" y="138"/>
                      </a:lnTo>
                      <a:lnTo>
                        <a:pt x="92" y="138"/>
                      </a:lnTo>
                      <a:lnTo>
                        <a:pt x="28" y="126"/>
                      </a:lnTo>
                      <a:lnTo>
                        <a:pt x="22" y="122"/>
                      </a:lnTo>
                      <a:lnTo>
                        <a:pt x="20" y="112"/>
                      </a:lnTo>
                      <a:lnTo>
                        <a:pt x="14" y="108"/>
                      </a:lnTo>
                      <a:lnTo>
                        <a:pt x="4" y="106"/>
                      </a:lnTo>
                      <a:lnTo>
                        <a:pt x="0" y="10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sp>
            <p:nvSpPr>
              <p:cNvPr id="28" name="Freeform 22">
                <a:extLst>
                  <a:ext uri="{FF2B5EF4-FFF2-40B4-BE49-F238E27FC236}">
                    <a16:creationId xmlns:a16="http://schemas.microsoft.com/office/drawing/2014/main" id="{A795DDFC-6D21-405B-86FE-243586957C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78" y="2252"/>
                <a:ext cx="276" cy="488"/>
              </a:xfrm>
              <a:custGeom>
                <a:avLst/>
                <a:gdLst>
                  <a:gd name="T0" fmla="*/ 256 w 276"/>
                  <a:gd name="T1" fmla="*/ 0 h 486"/>
                  <a:gd name="T2" fmla="*/ 90 w 276"/>
                  <a:gd name="T3" fmla="*/ 14 h 486"/>
                  <a:gd name="T4" fmla="*/ 88 w 276"/>
                  <a:gd name="T5" fmla="*/ 18 h 486"/>
                  <a:gd name="T6" fmla="*/ 72 w 276"/>
                  <a:gd name="T7" fmla="*/ 32 h 486"/>
                  <a:gd name="T8" fmla="*/ 68 w 276"/>
                  <a:gd name="T9" fmla="*/ 48 h 486"/>
                  <a:gd name="T10" fmla="*/ 68 w 276"/>
                  <a:gd name="T11" fmla="*/ 62 h 486"/>
                  <a:gd name="T12" fmla="*/ 66 w 276"/>
                  <a:gd name="T13" fmla="*/ 72 h 486"/>
                  <a:gd name="T14" fmla="*/ 52 w 276"/>
                  <a:gd name="T15" fmla="*/ 80 h 486"/>
                  <a:gd name="T16" fmla="*/ 42 w 276"/>
                  <a:gd name="T17" fmla="*/ 96 h 486"/>
                  <a:gd name="T18" fmla="*/ 38 w 276"/>
                  <a:gd name="T19" fmla="*/ 100 h 486"/>
                  <a:gd name="T20" fmla="*/ 38 w 276"/>
                  <a:gd name="T21" fmla="*/ 112 h 486"/>
                  <a:gd name="T22" fmla="*/ 30 w 276"/>
                  <a:gd name="T23" fmla="*/ 123 h 486"/>
                  <a:gd name="T24" fmla="*/ 30 w 276"/>
                  <a:gd name="T25" fmla="*/ 133 h 486"/>
                  <a:gd name="T26" fmla="*/ 26 w 276"/>
                  <a:gd name="T27" fmla="*/ 145 h 486"/>
                  <a:gd name="T28" fmla="*/ 18 w 276"/>
                  <a:gd name="T29" fmla="*/ 159 h 486"/>
                  <a:gd name="T30" fmla="*/ 20 w 276"/>
                  <a:gd name="T31" fmla="*/ 175 h 486"/>
                  <a:gd name="T32" fmla="*/ 28 w 276"/>
                  <a:gd name="T33" fmla="*/ 183 h 486"/>
                  <a:gd name="T34" fmla="*/ 30 w 276"/>
                  <a:gd name="T35" fmla="*/ 193 h 486"/>
                  <a:gd name="T36" fmla="*/ 32 w 276"/>
                  <a:gd name="T37" fmla="*/ 195 h 486"/>
                  <a:gd name="T38" fmla="*/ 32 w 276"/>
                  <a:gd name="T39" fmla="*/ 199 h 486"/>
                  <a:gd name="T40" fmla="*/ 28 w 276"/>
                  <a:gd name="T41" fmla="*/ 203 h 486"/>
                  <a:gd name="T42" fmla="*/ 26 w 276"/>
                  <a:gd name="T43" fmla="*/ 211 h 486"/>
                  <a:gd name="T44" fmla="*/ 26 w 276"/>
                  <a:gd name="T45" fmla="*/ 217 h 486"/>
                  <a:gd name="T46" fmla="*/ 26 w 276"/>
                  <a:gd name="T47" fmla="*/ 225 h 486"/>
                  <a:gd name="T48" fmla="*/ 36 w 276"/>
                  <a:gd name="T49" fmla="*/ 245 h 486"/>
                  <a:gd name="T50" fmla="*/ 36 w 276"/>
                  <a:gd name="T51" fmla="*/ 263 h 486"/>
                  <a:gd name="T52" fmla="*/ 42 w 276"/>
                  <a:gd name="T53" fmla="*/ 275 h 486"/>
                  <a:gd name="T54" fmla="*/ 48 w 276"/>
                  <a:gd name="T55" fmla="*/ 279 h 486"/>
                  <a:gd name="T56" fmla="*/ 48 w 276"/>
                  <a:gd name="T57" fmla="*/ 289 h 486"/>
                  <a:gd name="T58" fmla="*/ 38 w 276"/>
                  <a:gd name="T59" fmla="*/ 295 h 486"/>
                  <a:gd name="T60" fmla="*/ 34 w 276"/>
                  <a:gd name="T61" fmla="*/ 299 h 486"/>
                  <a:gd name="T62" fmla="*/ 30 w 276"/>
                  <a:gd name="T63" fmla="*/ 319 h 486"/>
                  <a:gd name="T64" fmla="*/ 14 w 276"/>
                  <a:gd name="T65" fmla="*/ 343 h 486"/>
                  <a:gd name="T66" fmla="*/ 0 w 276"/>
                  <a:gd name="T67" fmla="*/ 386 h 486"/>
                  <a:gd name="T68" fmla="*/ 0 w 276"/>
                  <a:gd name="T69" fmla="*/ 416 h 486"/>
                  <a:gd name="T70" fmla="*/ 154 w 276"/>
                  <a:gd name="T71" fmla="*/ 410 h 486"/>
                  <a:gd name="T72" fmla="*/ 158 w 276"/>
                  <a:gd name="T73" fmla="*/ 416 h 486"/>
                  <a:gd name="T74" fmla="*/ 154 w 276"/>
                  <a:gd name="T75" fmla="*/ 430 h 486"/>
                  <a:gd name="T76" fmla="*/ 154 w 276"/>
                  <a:gd name="T77" fmla="*/ 452 h 486"/>
                  <a:gd name="T78" fmla="*/ 172 w 276"/>
                  <a:gd name="T79" fmla="*/ 468 h 486"/>
                  <a:gd name="T80" fmla="*/ 174 w 276"/>
                  <a:gd name="T81" fmla="*/ 488 h 486"/>
                  <a:gd name="T82" fmla="*/ 186 w 276"/>
                  <a:gd name="T83" fmla="*/ 488 h 486"/>
                  <a:gd name="T84" fmla="*/ 202 w 276"/>
                  <a:gd name="T85" fmla="*/ 474 h 486"/>
                  <a:gd name="T86" fmla="*/ 240 w 276"/>
                  <a:gd name="T87" fmla="*/ 462 h 486"/>
                  <a:gd name="T88" fmla="*/ 250 w 276"/>
                  <a:gd name="T89" fmla="*/ 466 h 486"/>
                  <a:gd name="T90" fmla="*/ 264 w 276"/>
                  <a:gd name="T91" fmla="*/ 462 h 486"/>
                  <a:gd name="T92" fmla="*/ 266 w 276"/>
                  <a:gd name="T93" fmla="*/ 464 h 486"/>
                  <a:gd name="T94" fmla="*/ 274 w 276"/>
                  <a:gd name="T95" fmla="*/ 468 h 486"/>
                  <a:gd name="T96" fmla="*/ 276 w 276"/>
                  <a:gd name="T97" fmla="*/ 466 h 486"/>
                  <a:gd name="T98" fmla="*/ 260 w 276"/>
                  <a:gd name="T99" fmla="*/ 317 h 486"/>
                  <a:gd name="T100" fmla="*/ 258 w 276"/>
                  <a:gd name="T101" fmla="*/ 303 h 486"/>
                  <a:gd name="T102" fmla="*/ 264 w 276"/>
                  <a:gd name="T103" fmla="*/ 10 h 486"/>
                  <a:gd name="T104" fmla="*/ 256 w 276"/>
                  <a:gd name="T105" fmla="*/ 0 h 48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76" h="486">
                    <a:moveTo>
                      <a:pt x="256" y="0"/>
                    </a:moveTo>
                    <a:lnTo>
                      <a:pt x="90" y="14"/>
                    </a:lnTo>
                    <a:lnTo>
                      <a:pt x="88" y="18"/>
                    </a:lnTo>
                    <a:lnTo>
                      <a:pt x="72" y="32"/>
                    </a:lnTo>
                    <a:lnTo>
                      <a:pt x="68" y="48"/>
                    </a:lnTo>
                    <a:lnTo>
                      <a:pt x="68" y="62"/>
                    </a:lnTo>
                    <a:lnTo>
                      <a:pt x="66" y="72"/>
                    </a:lnTo>
                    <a:lnTo>
                      <a:pt x="52" y="80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12"/>
                    </a:lnTo>
                    <a:lnTo>
                      <a:pt x="30" y="122"/>
                    </a:lnTo>
                    <a:lnTo>
                      <a:pt x="30" y="132"/>
                    </a:lnTo>
                    <a:lnTo>
                      <a:pt x="26" y="144"/>
                    </a:lnTo>
                    <a:lnTo>
                      <a:pt x="18" y="158"/>
                    </a:lnTo>
                    <a:lnTo>
                      <a:pt x="20" y="174"/>
                    </a:lnTo>
                    <a:lnTo>
                      <a:pt x="28" y="182"/>
                    </a:lnTo>
                    <a:lnTo>
                      <a:pt x="30" y="192"/>
                    </a:lnTo>
                    <a:lnTo>
                      <a:pt x="32" y="194"/>
                    </a:lnTo>
                    <a:lnTo>
                      <a:pt x="32" y="198"/>
                    </a:lnTo>
                    <a:lnTo>
                      <a:pt x="28" y="202"/>
                    </a:lnTo>
                    <a:lnTo>
                      <a:pt x="26" y="210"/>
                    </a:lnTo>
                    <a:lnTo>
                      <a:pt x="26" y="216"/>
                    </a:lnTo>
                    <a:lnTo>
                      <a:pt x="26" y="224"/>
                    </a:lnTo>
                    <a:lnTo>
                      <a:pt x="36" y="244"/>
                    </a:lnTo>
                    <a:lnTo>
                      <a:pt x="36" y="262"/>
                    </a:lnTo>
                    <a:lnTo>
                      <a:pt x="42" y="274"/>
                    </a:lnTo>
                    <a:lnTo>
                      <a:pt x="48" y="278"/>
                    </a:lnTo>
                    <a:lnTo>
                      <a:pt x="48" y="288"/>
                    </a:lnTo>
                    <a:lnTo>
                      <a:pt x="38" y="294"/>
                    </a:lnTo>
                    <a:lnTo>
                      <a:pt x="34" y="298"/>
                    </a:lnTo>
                    <a:lnTo>
                      <a:pt x="30" y="318"/>
                    </a:lnTo>
                    <a:lnTo>
                      <a:pt x="14" y="342"/>
                    </a:lnTo>
                    <a:lnTo>
                      <a:pt x="0" y="384"/>
                    </a:lnTo>
                    <a:lnTo>
                      <a:pt x="0" y="414"/>
                    </a:lnTo>
                    <a:lnTo>
                      <a:pt x="154" y="408"/>
                    </a:lnTo>
                    <a:lnTo>
                      <a:pt x="158" y="414"/>
                    </a:lnTo>
                    <a:lnTo>
                      <a:pt x="154" y="428"/>
                    </a:lnTo>
                    <a:lnTo>
                      <a:pt x="154" y="450"/>
                    </a:lnTo>
                    <a:lnTo>
                      <a:pt x="172" y="466"/>
                    </a:lnTo>
                    <a:lnTo>
                      <a:pt x="174" y="486"/>
                    </a:lnTo>
                    <a:lnTo>
                      <a:pt x="186" y="486"/>
                    </a:lnTo>
                    <a:lnTo>
                      <a:pt x="202" y="472"/>
                    </a:lnTo>
                    <a:lnTo>
                      <a:pt x="240" y="460"/>
                    </a:lnTo>
                    <a:lnTo>
                      <a:pt x="250" y="464"/>
                    </a:lnTo>
                    <a:lnTo>
                      <a:pt x="264" y="460"/>
                    </a:lnTo>
                    <a:lnTo>
                      <a:pt x="266" y="462"/>
                    </a:lnTo>
                    <a:lnTo>
                      <a:pt x="274" y="466"/>
                    </a:lnTo>
                    <a:lnTo>
                      <a:pt x="276" y="464"/>
                    </a:lnTo>
                    <a:lnTo>
                      <a:pt x="260" y="316"/>
                    </a:lnTo>
                    <a:lnTo>
                      <a:pt x="258" y="302"/>
                    </a:lnTo>
                    <a:lnTo>
                      <a:pt x="264" y="10"/>
                    </a:lnTo>
                    <a:lnTo>
                      <a:pt x="256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9" name="Freeform 23">
                <a:extLst>
                  <a:ext uri="{FF2B5EF4-FFF2-40B4-BE49-F238E27FC236}">
                    <a16:creationId xmlns:a16="http://schemas.microsoft.com/office/drawing/2014/main" id="{2F13D984-AB5B-41D9-880C-422763893A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35" y="2234"/>
                <a:ext cx="306" cy="486"/>
              </a:xfrm>
              <a:custGeom>
                <a:avLst/>
                <a:gdLst>
                  <a:gd name="T0" fmla="*/ 0 w 304"/>
                  <a:gd name="T1" fmla="*/ 18 h 484"/>
                  <a:gd name="T2" fmla="*/ 8 w 304"/>
                  <a:gd name="T3" fmla="*/ 28 h 484"/>
                  <a:gd name="T4" fmla="*/ 2 w 304"/>
                  <a:gd name="T5" fmla="*/ 321 h 484"/>
                  <a:gd name="T6" fmla="*/ 4 w 304"/>
                  <a:gd name="T7" fmla="*/ 335 h 484"/>
                  <a:gd name="T8" fmla="*/ 20 w 304"/>
                  <a:gd name="T9" fmla="*/ 484 h 484"/>
                  <a:gd name="T10" fmla="*/ 24 w 304"/>
                  <a:gd name="T11" fmla="*/ 480 h 484"/>
                  <a:gd name="T12" fmla="*/ 30 w 304"/>
                  <a:gd name="T13" fmla="*/ 478 h 484"/>
                  <a:gd name="T14" fmla="*/ 42 w 304"/>
                  <a:gd name="T15" fmla="*/ 482 h 484"/>
                  <a:gd name="T16" fmla="*/ 46 w 304"/>
                  <a:gd name="T17" fmla="*/ 476 h 484"/>
                  <a:gd name="T18" fmla="*/ 48 w 304"/>
                  <a:gd name="T19" fmla="*/ 454 h 484"/>
                  <a:gd name="T20" fmla="*/ 54 w 304"/>
                  <a:gd name="T21" fmla="*/ 440 h 484"/>
                  <a:gd name="T22" fmla="*/ 62 w 304"/>
                  <a:gd name="T23" fmla="*/ 454 h 484"/>
                  <a:gd name="T24" fmla="*/ 60 w 304"/>
                  <a:gd name="T25" fmla="*/ 460 h 484"/>
                  <a:gd name="T26" fmla="*/ 64 w 304"/>
                  <a:gd name="T27" fmla="*/ 472 h 484"/>
                  <a:gd name="T28" fmla="*/ 74 w 304"/>
                  <a:gd name="T29" fmla="*/ 486 h 484"/>
                  <a:gd name="T30" fmla="*/ 83 w 304"/>
                  <a:gd name="T31" fmla="*/ 486 h 484"/>
                  <a:gd name="T32" fmla="*/ 91 w 304"/>
                  <a:gd name="T33" fmla="*/ 486 h 484"/>
                  <a:gd name="T34" fmla="*/ 101 w 304"/>
                  <a:gd name="T35" fmla="*/ 474 h 484"/>
                  <a:gd name="T36" fmla="*/ 103 w 304"/>
                  <a:gd name="T37" fmla="*/ 474 h 484"/>
                  <a:gd name="T38" fmla="*/ 107 w 304"/>
                  <a:gd name="T39" fmla="*/ 470 h 484"/>
                  <a:gd name="T40" fmla="*/ 107 w 304"/>
                  <a:gd name="T41" fmla="*/ 468 h 484"/>
                  <a:gd name="T42" fmla="*/ 107 w 304"/>
                  <a:gd name="T43" fmla="*/ 466 h 484"/>
                  <a:gd name="T44" fmla="*/ 101 w 304"/>
                  <a:gd name="T45" fmla="*/ 462 h 484"/>
                  <a:gd name="T46" fmla="*/ 101 w 304"/>
                  <a:gd name="T47" fmla="*/ 460 h 484"/>
                  <a:gd name="T48" fmla="*/ 105 w 304"/>
                  <a:gd name="T49" fmla="*/ 452 h 484"/>
                  <a:gd name="T50" fmla="*/ 105 w 304"/>
                  <a:gd name="T51" fmla="*/ 448 h 484"/>
                  <a:gd name="T52" fmla="*/ 97 w 304"/>
                  <a:gd name="T53" fmla="*/ 444 h 484"/>
                  <a:gd name="T54" fmla="*/ 95 w 304"/>
                  <a:gd name="T55" fmla="*/ 442 h 484"/>
                  <a:gd name="T56" fmla="*/ 91 w 304"/>
                  <a:gd name="T57" fmla="*/ 438 h 484"/>
                  <a:gd name="T58" fmla="*/ 85 w 304"/>
                  <a:gd name="T59" fmla="*/ 430 h 484"/>
                  <a:gd name="T60" fmla="*/ 83 w 304"/>
                  <a:gd name="T61" fmla="*/ 422 h 484"/>
                  <a:gd name="T62" fmla="*/ 87 w 304"/>
                  <a:gd name="T63" fmla="*/ 420 h 484"/>
                  <a:gd name="T64" fmla="*/ 85 w 304"/>
                  <a:gd name="T65" fmla="*/ 418 h 484"/>
                  <a:gd name="T66" fmla="*/ 85 w 304"/>
                  <a:gd name="T67" fmla="*/ 412 h 484"/>
                  <a:gd name="T68" fmla="*/ 306 w 304"/>
                  <a:gd name="T69" fmla="*/ 392 h 484"/>
                  <a:gd name="T70" fmla="*/ 304 w 304"/>
                  <a:gd name="T71" fmla="*/ 386 h 484"/>
                  <a:gd name="T72" fmla="*/ 294 w 304"/>
                  <a:gd name="T73" fmla="*/ 370 h 484"/>
                  <a:gd name="T74" fmla="*/ 296 w 304"/>
                  <a:gd name="T75" fmla="*/ 343 h 484"/>
                  <a:gd name="T76" fmla="*/ 286 w 304"/>
                  <a:gd name="T77" fmla="*/ 321 h 484"/>
                  <a:gd name="T78" fmla="*/ 284 w 304"/>
                  <a:gd name="T79" fmla="*/ 305 h 484"/>
                  <a:gd name="T80" fmla="*/ 290 w 304"/>
                  <a:gd name="T81" fmla="*/ 293 h 484"/>
                  <a:gd name="T82" fmla="*/ 290 w 304"/>
                  <a:gd name="T83" fmla="*/ 279 h 484"/>
                  <a:gd name="T84" fmla="*/ 298 w 304"/>
                  <a:gd name="T85" fmla="*/ 267 h 484"/>
                  <a:gd name="T86" fmla="*/ 298 w 304"/>
                  <a:gd name="T87" fmla="*/ 265 h 484"/>
                  <a:gd name="T88" fmla="*/ 292 w 304"/>
                  <a:gd name="T89" fmla="*/ 257 h 484"/>
                  <a:gd name="T90" fmla="*/ 294 w 304"/>
                  <a:gd name="T91" fmla="*/ 247 h 484"/>
                  <a:gd name="T92" fmla="*/ 288 w 304"/>
                  <a:gd name="T93" fmla="*/ 243 h 484"/>
                  <a:gd name="T94" fmla="*/ 280 w 304"/>
                  <a:gd name="T95" fmla="*/ 237 h 484"/>
                  <a:gd name="T96" fmla="*/ 278 w 304"/>
                  <a:gd name="T97" fmla="*/ 231 h 484"/>
                  <a:gd name="T98" fmla="*/ 274 w 304"/>
                  <a:gd name="T99" fmla="*/ 215 h 484"/>
                  <a:gd name="T100" fmla="*/ 268 w 304"/>
                  <a:gd name="T101" fmla="*/ 211 h 484"/>
                  <a:gd name="T102" fmla="*/ 209 w 304"/>
                  <a:gd name="T103" fmla="*/ 0 h 484"/>
                  <a:gd name="T104" fmla="*/ 0 w 304"/>
                  <a:gd name="T105" fmla="*/ 18 h 48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304" h="484">
                    <a:moveTo>
                      <a:pt x="0" y="18"/>
                    </a:moveTo>
                    <a:lnTo>
                      <a:pt x="8" y="28"/>
                    </a:lnTo>
                    <a:lnTo>
                      <a:pt x="2" y="320"/>
                    </a:lnTo>
                    <a:lnTo>
                      <a:pt x="4" y="334"/>
                    </a:lnTo>
                    <a:lnTo>
                      <a:pt x="20" y="482"/>
                    </a:lnTo>
                    <a:lnTo>
                      <a:pt x="24" y="478"/>
                    </a:lnTo>
                    <a:lnTo>
                      <a:pt x="30" y="476"/>
                    </a:lnTo>
                    <a:lnTo>
                      <a:pt x="42" y="480"/>
                    </a:lnTo>
                    <a:lnTo>
                      <a:pt x="46" y="474"/>
                    </a:lnTo>
                    <a:lnTo>
                      <a:pt x="48" y="452"/>
                    </a:lnTo>
                    <a:lnTo>
                      <a:pt x="54" y="438"/>
                    </a:lnTo>
                    <a:lnTo>
                      <a:pt x="62" y="452"/>
                    </a:lnTo>
                    <a:lnTo>
                      <a:pt x="60" y="458"/>
                    </a:lnTo>
                    <a:lnTo>
                      <a:pt x="64" y="470"/>
                    </a:lnTo>
                    <a:lnTo>
                      <a:pt x="74" y="484"/>
                    </a:lnTo>
                    <a:lnTo>
                      <a:pt x="82" y="484"/>
                    </a:lnTo>
                    <a:lnTo>
                      <a:pt x="90" y="484"/>
                    </a:lnTo>
                    <a:lnTo>
                      <a:pt x="100" y="472"/>
                    </a:lnTo>
                    <a:lnTo>
                      <a:pt x="102" y="472"/>
                    </a:lnTo>
                    <a:lnTo>
                      <a:pt x="106" y="468"/>
                    </a:lnTo>
                    <a:lnTo>
                      <a:pt x="106" y="466"/>
                    </a:lnTo>
                    <a:lnTo>
                      <a:pt x="106" y="464"/>
                    </a:lnTo>
                    <a:lnTo>
                      <a:pt x="100" y="460"/>
                    </a:lnTo>
                    <a:lnTo>
                      <a:pt x="100" y="458"/>
                    </a:lnTo>
                    <a:lnTo>
                      <a:pt x="104" y="450"/>
                    </a:lnTo>
                    <a:lnTo>
                      <a:pt x="104" y="446"/>
                    </a:lnTo>
                    <a:lnTo>
                      <a:pt x="96" y="442"/>
                    </a:lnTo>
                    <a:lnTo>
                      <a:pt x="94" y="440"/>
                    </a:lnTo>
                    <a:lnTo>
                      <a:pt x="90" y="436"/>
                    </a:lnTo>
                    <a:lnTo>
                      <a:pt x="84" y="428"/>
                    </a:lnTo>
                    <a:lnTo>
                      <a:pt x="82" y="420"/>
                    </a:lnTo>
                    <a:lnTo>
                      <a:pt x="86" y="418"/>
                    </a:lnTo>
                    <a:lnTo>
                      <a:pt x="84" y="416"/>
                    </a:lnTo>
                    <a:lnTo>
                      <a:pt x="84" y="410"/>
                    </a:lnTo>
                    <a:lnTo>
                      <a:pt x="304" y="390"/>
                    </a:lnTo>
                    <a:lnTo>
                      <a:pt x="302" y="384"/>
                    </a:lnTo>
                    <a:lnTo>
                      <a:pt x="292" y="368"/>
                    </a:lnTo>
                    <a:lnTo>
                      <a:pt x="294" y="342"/>
                    </a:lnTo>
                    <a:lnTo>
                      <a:pt x="284" y="320"/>
                    </a:lnTo>
                    <a:lnTo>
                      <a:pt x="282" y="304"/>
                    </a:lnTo>
                    <a:lnTo>
                      <a:pt x="288" y="292"/>
                    </a:lnTo>
                    <a:lnTo>
                      <a:pt x="288" y="278"/>
                    </a:lnTo>
                    <a:lnTo>
                      <a:pt x="296" y="266"/>
                    </a:lnTo>
                    <a:lnTo>
                      <a:pt x="296" y="264"/>
                    </a:lnTo>
                    <a:lnTo>
                      <a:pt x="290" y="256"/>
                    </a:lnTo>
                    <a:lnTo>
                      <a:pt x="292" y="246"/>
                    </a:lnTo>
                    <a:lnTo>
                      <a:pt x="286" y="242"/>
                    </a:lnTo>
                    <a:lnTo>
                      <a:pt x="278" y="236"/>
                    </a:lnTo>
                    <a:lnTo>
                      <a:pt x="276" y="230"/>
                    </a:lnTo>
                    <a:lnTo>
                      <a:pt x="272" y="214"/>
                    </a:lnTo>
                    <a:lnTo>
                      <a:pt x="266" y="210"/>
                    </a:lnTo>
                    <a:lnTo>
                      <a:pt x="208" y="0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" name="Freeform 25">
                <a:extLst>
                  <a:ext uri="{FF2B5EF4-FFF2-40B4-BE49-F238E27FC236}">
                    <a16:creationId xmlns:a16="http://schemas.microsoft.com/office/drawing/2014/main" id="{B10EAD03-B314-41CE-B0B8-9922ED8A56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7" y="2167"/>
                <a:ext cx="407" cy="305"/>
              </a:xfrm>
              <a:custGeom>
                <a:avLst/>
                <a:gdLst>
                  <a:gd name="T0" fmla="*/ 240 w 404"/>
                  <a:gd name="T1" fmla="*/ 305 h 304"/>
                  <a:gd name="T2" fmla="*/ 226 w 404"/>
                  <a:gd name="T3" fmla="*/ 301 h 304"/>
                  <a:gd name="T4" fmla="*/ 218 w 404"/>
                  <a:gd name="T5" fmla="*/ 277 h 304"/>
                  <a:gd name="T6" fmla="*/ 195 w 404"/>
                  <a:gd name="T7" fmla="*/ 257 h 304"/>
                  <a:gd name="T8" fmla="*/ 179 w 404"/>
                  <a:gd name="T9" fmla="*/ 229 h 304"/>
                  <a:gd name="T10" fmla="*/ 169 w 404"/>
                  <a:gd name="T11" fmla="*/ 215 h 304"/>
                  <a:gd name="T12" fmla="*/ 147 w 404"/>
                  <a:gd name="T13" fmla="*/ 197 h 304"/>
                  <a:gd name="T14" fmla="*/ 137 w 404"/>
                  <a:gd name="T15" fmla="*/ 185 h 304"/>
                  <a:gd name="T16" fmla="*/ 129 w 404"/>
                  <a:gd name="T17" fmla="*/ 173 h 304"/>
                  <a:gd name="T18" fmla="*/ 89 w 404"/>
                  <a:gd name="T19" fmla="*/ 144 h 304"/>
                  <a:gd name="T20" fmla="*/ 75 w 404"/>
                  <a:gd name="T21" fmla="*/ 132 h 304"/>
                  <a:gd name="T22" fmla="*/ 56 w 404"/>
                  <a:gd name="T23" fmla="*/ 106 h 304"/>
                  <a:gd name="T24" fmla="*/ 44 w 404"/>
                  <a:gd name="T25" fmla="*/ 92 h 304"/>
                  <a:gd name="T26" fmla="*/ 6 w 404"/>
                  <a:gd name="T27" fmla="*/ 78 h 304"/>
                  <a:gd name="T28" fmla="*/ 8 w 404"/>
                  <a:gd name="T29" fmla="*/ 56 h 304"/>
                  <a:gd name="T30" fmla="*/ 16 w 404"/>
                  <a:gd name="T31" fmla="*/ 46 h 304"/>
                  <a:gd name="T32" fmla="*/ 16 w 404"/>
                  <a:gd name="T33" fmla="*/ 40 h 304"/>
                  <a:gd name="T34" fmla="*/ 48 w 404"/>
                  <a:gd name="T35" fmla="*/ 28 h 304"/>
                  <a:gd name="T36" fmla="*/ 69 w 404"/>
                  <a:gd name="T37" fmla="*/ 14 h 304"/>
                  <a:gd name="T38" fmla="*/ 75 w 404"/>
                  <a:gd name="T39" fmla="*/ 12 h 304"/>
                  <a:gd name="T40" fmla="*/ 181 w 404"/>
                  <a:gd name="T41" fmla="*/ 2 h 304"/>
                  <a:gd name="T42" fmla="*/ 183 w 404"/>
                  <a:gd name="T43" fmla="*/ 10 h 304"/>
                  <a:gd name="T44" fmla="*/ 208 w 404"/>
                  <a:gd name="T45" fmla="*/ 18 h 304"/>
                  <a:gd name="T46" fmla="*/ 298 w 404"/>
                  <a:gd name="T47" fmla="*/ 18 h 304"/>
                  <a:gd name="T48" fmla="*/ 403 w 404"/>
                  <a:gd name="T49" fmla="*/ 94 h 304"/>
                  <a:gd name="T50" fmla="*/ 387 w 404"/>
                  <a:gd name="T51" fmla="*/ 110 h 304"/>
                  <a:gd name="T52" fmla="*/ 369 w 404"/>
                  <a:gd name="T53" fmla="*/ 138 h 304"/>
                  <a:gd name="T54" fmla="*/ 367 w 404"/>
                  <a:gd name="T55" fmla="*/ 161 h 304"/>
                  <a:gd name="T56" fmla="*/ 363 w 404"/>
                  <a:gd name="T57" fmla="*/ 173 h 304"/>
                  <a:gd name="T58" fmla="*/ 355 w 404"/>
                  <a:gd name="T59" fmla="*/ 179 h 304"/>
                  <a:gd name="T60" fmla="*/ 345 w 404"/>
                  <a:gd name="T61" fmla="*/ 189 h 304"/>
                  <a:gd name="T62" fmla="*/ 334 w 404"/>
                  <a:gd name="T63" fmla="*/ 205 h 304"/>
                  <a:gd name="T64" fmla="*/ 314 w 404"/>
                  <a:gd name="T65" fmla="*/ 225 h 304"/>
                  <a:gd name="T66" fmla="*/ 296 w 404"/>
                  <a:gd name="T67" fmla="*/ 239 h 304"/>
                  <a:gd name="T68" fmla="*/ 286 w 404"/>
                  <a:gd name="T69" fmla="*/ 249 h 304"/>
                  <a:gd name="T70" fmla="*/ 274 w 404"/>
                  <a:gd name="T71" fmla="*/ 255 h 304"/>
                  <a:gd name="T72" fmla="*/ 272 w 404"/>
                  <a:gd name="T73" fmla="*/ 261 h 304"/>
                  <a:gd name="T74" fmla="*/ 268 w 404"/>
                  <a:gd name="T75" fmla="*/ 271 h 304"/>
                  <a:gd name="T76" fmla="*/ 254 w 404"/>
                  <a:gd name="T77" fmla="*/ 277 h 304"/>
                  <a:gd name="T78" fmla="*/ 252 w 404"/>
                  <a:gd name="T79" fmla="*/ 279 h 304"/>
                  <a:gd name="T80" fmla="*/ 256 w 404"/>
                  <a:gd name="T81" fmla="*/ 283 h 304"/>
                  <a:gd name="T82" fmla="*/ 256 w 404"/>
                  <a:gd name="T83" fmla="*/ 289 h 304"/>
                  <a:gd name="T84" fmla="*/ 246 w 404"/>
                  <a:gd name="T85" fmla="*/ 297 h 304"/>
                  <a:gd name="T86" fmla="*/ 244 w 404"/>
                  <a:gd name="T87" fmla="*/ 305 h 30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04" h="304">
                    <a:moveTo>
                      <a:pt x="242" y="304"/>
                    </a:moveTo>
                    <a:lnTo>
                      <a:pt x="238" y="304"/>
                    </a:lnTo>
                    <a:lnTo>
                      <a:pt x="226" y="302"/>
                    </a:lnTo>
                    <a:lnTo>
                      <a:pt x="224" y="300"/>
                    </a:lnTo>
                    <a:lnTo>
                      <a:pt x="220" y="296"/>
                    </a:lnTo>
                    <a:lnTo>
                      <a:pt x="216" y="276"/>
                    </a:lnTo>
                    <a:lnTo>
                      <a:pt x="206" y="262"/>
                    </a:lnTo>
                    <a:lnTo>
                      <a:pt x="194" y="256"/>
                    </a:lnTo>
                    <a:lnTo>
                      <a:pt x="188" y="236"/>
                    </a:lnTo>
                    <a:lnTo>
                      <a:pt x="178" y="228"/>
                    </a:lnTo>
                    <a:lnTo>
                      <a:pt x="176" y="216"/>
                    </a:lnTo>
                    <a:lnTo>
                      <a:pt x="168" y="214"/>
                    </a:lnTo>
                    <a:lnTo>
                      <a:pt x="154" y="208"/>
                    </a:lnTo>
                    <a:lnTo>
                      <a:pt x="146" y="196"/>
                    </a:lnTo>
                    <a:lnTo>
                      <a:pt x="136" y="190"/>
                    </a:lnTo>
                    <a:lnTo>
                      <a:pt x="136" y="184"/>
                    </a:lnTo>
                    <a:lnTo>
                      <a:pt x="132" y="174"/>
                    </a:lnTo>
                    <a:lnTo>
                      <a:pt x="128" y="172"/>
                    </a:lnTo>
                    <a:lnTo>
                      <a:pt x="114" y="166"/>
                    </a:lnTo>
                    <a:lnTo>
                      <a:pt x="88" y="144"/>
                    </a:lnTo>
                    <a:lnTo>
                      <a:pt x="76" y="140"/>
                    </a:lnTo>
                    <a:lnTo>
                      <a:pt x="74" y="132"/>
                    </a:lnTo>
                    <a:lnTo>
                      <a:pt x="62" y="122"/>
                    </a:lnTo>
                    <a:lnTo>
                      <a:pt x="56" y="106"/>
                    </a:lnTo>
                    <a:lnTo>
                      <a:pt x="48" y="98"/>
                    </a:lnTo>
                    <a:lnTo>
                      <a:pt x="44" y="92"/>
                    </a:lnTo>
                    <a:lnTo>
                      <a:pt x="28" y="90"/>
                    </a:lnTo>
                    <a:lnTo>
                      <a:pt x="6" y="78"/>
                    </a:lnTo>
                    <a:lnTo>
                      <a:pt x="0" y="72"/>
                    </a:lnTo>
                    <a:lnTo>
                      <a:pt x="8" y="56"/>
                    </a:lnTo>
                    <a:lnTo>
                      <a:pt x="12" y="52"/>
                    </a:lnTo>
                    <a:lnTo>
                      <a:pt x="16" y="46"/>
                    </a:lnTo>
                    <a:lnTo>
                      <a:pt x="18" y="42"/>
                    </a:lnTo>
                    <a:lnTo>
                      <a:pt x="16" y="40"/>
                    </a:lnTo>
                    <a:lnTo>
                      <a:pt x="40" y="28"/>
                    </a:lnTo>
                    <a:lnTo>
                      <a:pt x="48" y="28"/>
                    </a:lnTo>
                    <a:lnTo>
                      <a:pt x="48" y="24"/>
                    </a:lnTo>
                    <a:lnTo>
                      <a:pt x="68" y="14"/>
                    </a:lnTo>
                    <a:lnTo>
                      <a:pt x="70" y="10"/>
                    </a:lnTo>
                    <a:lnTo>
                      <a:pt x="74" y="12"/>
                    </a:lnTo>
                    <a:lnTo>
                      <a:pt x="178" y="0"/>
                    </a:lnTo>
                    <a:lnTo>
                      <a:pt x="180" y="2"/>
                    </a:lnTo>
                    <a:lnTo>
                      <a:pt x="178" y="6"/>
                    </a:lnTo>
                    <a:lnTo>
                      <a:pt x="182" y="10"/>
                    </a:lnTo>
                    <a:lnTo>
                      <a:pt x="188" y="4"/>
                    </a:lnTo>
                    <a:lnTo>
                      <a:pt x="206" y="18"/>
                    </a:lnTo>
                    <a:lnTo>
                      <a:pt x="208" y="30"/>
                    </a:lnTo>
                    <a:lnTo>
                      <a:pt x="296" y="18"/>
                    </a:lnTo>
                    <a:lnTo>
                      <a:pt x="404" y="92"/>
                    </a:lnTo>
                    <a:lnTo>
                      <a:pt x="400" y="94"/>
                    </a:lnTo>
                    <a:lnTo>
                      <a:pt x="390" y="100"/>
                    </a:lnTo>
                    <a:lnTo>
                      <a:pt x="384" y="110"/>
                    </a:lnTo>
                    <a:lnTo>
                      <a:pt x="370" y="130"/>
                    </a:lnTo>
                    <a:lnTo>
                      <a:pt x="366" y="138"/>
                    </a:lnTo>
                    <a:lnTo>
                      <a:pt x="362" y="150"/>
                    </a:lnTo>
                    <a:lnTo>
                      <a:pt x="364" y="160"/>
                    </a:lnTo>
                    <a:lnTo>
                      <a:pt x="364" y="168"/>
                    </a:lnTo>
                    <a:lnTo>
                      <a:pt x="360" y="172"/>
                    </a:lnTo>
                    <a:lnTo>
                      <a:pt x="358" y="178"/>
                    </a:lnTo>
                    <a:lnTo>
                      <a:pt x="352" y="178"/>
                    </a:lnTo>
                    <a:lnTo>
                      <a:pt x="346" y="182"/>
                    </a:lnTo>
                    <a:lnTo>
                      <a:pt x="342" y="188"/>
                    </a:lnTo>
                    <a:lnTo>
                      <a:pt x="336" y="196"/>
                    </a:lnTo>
                    <a:lnTo>
                      <a:pt x="332" y="204"/>
                    </a:lnTo>
                    <a:lnTo>
                      <a:pt x="318" y="214"/>
                    </a:lnTo>
                    <a:lnTo>
                      <a:pt x="312" y="224"/>
                    </a:lnTo>
                    <a:lnTo>
                      <a:pt x="304" y="232"/>
                    </a:lnTo>
                    <a:lnTo>
                      <a:pt x="294" y="238"/>
                    </a:lnTo>
                    <a:lnTo>
                      <a:pt x="290" y="244"/>
                    </a:lnTo>
                    <a:lnTo>
                      <a:pt x="284" y="248"/>
                    </a:lnTo>
                    <a:lnTo>
                      <a:pt x="276" y="252"/>
                    </a:lnTo>
                    <a:lnTo>
                      <a:pt x="272" y="254"/>
                    </a:lnTo>
                    <a:lnTo>
                      <a:pt x="268" y="258"/>
                    </a:lnTo>
                    <a:lnTo>
                      <a:pt x="270" y="260"/>
                    </a:lnTo>
                    <a:lnTo>
                      <a:pt x="268" y="262"/>
                    </a:lnTo>
                    <a:lnTo>
                      <a:pt x="266" y="270"/>
                    </a:lnTo>
                    <a:lnTo>
                      <a:pt x="258" y="276"/>
                    </a:lnTo>
                    <a:lnTo>
                      <a:pt x="252" y="276"/>
                    </a:lnTo>
                    <a:lnTo>
                      <a:pt x="250" y="278"/>
                    </a:lnTo>
                    <a:lnTo>
                      <a:pt x="252" y="280"/>
                    </a:lnTo>
                    <a:lnTo>
                      <a:pt x="254" y="282"/>
                    </a:lnTo>
                    <a:lnTo>
                      <a:pt x="256" y="284"/>
                    </a:lnTo>
                    <a:lnTo>
                      <a:pt x="254" y="288"/>
                    </a:lnTo>
                    <a:lnTo>
                      <a:pt x="252" y="290"/>
                    </a:lnTo>
                    <a:lnTo>
                      <a:pt x="244" y="296"/>
                    </a:lnTo>
                    <a:lnTo>
                      <a:pt x="242" y="302"/>
                    </a:lnTo>
                    <a:lnTo>
                      <a:pt x="242" y="30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1" name="Freeform 26">
                <a:extLst>
                  <a:ext uri="{FF2B5EF4-FFF2-40B4-BE49-F238E27FC236}">
                    <a16:creationId xmlns:a16="http://schemas.microsoft.com/office/drawing/2014/main" id="{F26F665E-7C5E-43F3-AA50-BFAC6C8123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44" y="2208"/>
                <a:ext cx="433" cy="447"/>
              </a:xfrm>
              <a:custGeom>
                <a:avLst/>
                <a:gdLst>
                  <a:gd name="T0" fmla="*/ 58 w 432"/>
                  <a:gd name="T1" fmla="*/ 237 h 446"/>
                  <a:gd name="T2" fmla="*/ 68 w 432"/>
                  <a:gd name="T3" fmla="*/ 257 h 446"/>
                  <a:gd name="T4" fmla="*/ 78 w 432"/>
                  <a:gd name="T5" fmla="*/ 269 h 446"/>
                  <a:gd name="T6" fmla="*/ 82 w 432"/>
                  <a:gd name="T7" fmla="*/ 283 h 446"/>
                  <a:gd name="T8" fmla="*/ 88 w 432"/>
                  <a:gd name="T9" fmla="*/ 293 h 446"/>
                  <a:gd name="T10" fmla="*/ 80 w 432"/>
                  <a:gd name="T11" fmla="*/ 319 h 446"/>
                  <a:gd name="T12" fmla="*/ 76 w 432"/>
                  <a:gd name="T13" fmla="*/ 347 h 446"/>
                  <a:gd name="T14" fmla="*/ 84 w 432"/>
                  <a:gd name="T15" fmla="*/ 395 h 446"/>
                  <a:gd name="T16" fmla="*/ 96 w 432"/>
                  <a:gd name="T17" fmla="*/ 417 h 446"/>
                  <a:gd name="T18" fmla="*/ 104 w 432"/>
                  <a:gd name="T19" fmla="*/ 429 h 446"/>
                  <a:gd name="T20" fmla="*/ 110 w 432"/>
                  <a:gd name="T21" fmla="*/ 443 h 446"/>
                  <a:gd name="T22" fmla="*/ 341 w 432"/>
                  <a:gd name="T23" fmla="*/ 441 h 446"/>
                  <a:gd name="T24" fmla="*/ 355 w 432"/>
                  <a:gd name="T25" fmla="*/ 447 h 446"/>
                  <a:gd name="T26" fmla="*/ 351 w 432"/>
                  <a:gd name="T27" fmla="*/ 413 h 446"/>
                  <a:gd name="T28" fmla="*/ 353 w 432"/>
                  <a:gd name="T29" fmla="*/ 401 h 446"/>
                  <a:gd name="T30" fmla="*/ 377 w 432"/>
                  <a:gd name="T31" fmla="*/ 403 h 446"/>
                  <a:gd name="T32" fmla="*/ 397 w 432"/>
                  <a:gd name="T33" fmla="*/ 403 h 446"/>
                  <a:gd name="T34" fmla="*/ 393 w 432"/>
                  <a:gd name="T35" fmla="*/ 377 h 446"/>
                  <a:gd name="T36" fmla="*/ 395 w 432"/>
                  <a:gd name="T37" fmla="*/ 359 h 446"/>
                  <a:gd name="T38" fmla="*/ 409 w 432"/>
                  <a:gd name="T39" fmla="*/ 311 h 446"/>
                  <a:gd name="T40" fmla="*/ 421 w 432"/>
                  <a:gd name="T41" fmla="*/ 281 h 446"/>
                  <a:gd name="T42" fmla="*/ 431 w 432"/>
                  <a:gd name="T43" fmla="*/ 273 h 446"/>
                  <a:gd name="T44" fmla="*/ 427 w 432"/>
                  <a:gd name="T45" fmla="*/ 267 h 446"/>
                  <a:gd name="T46" fmla="*/ 423 w 432"/>
                  <a:gd name="T47" fmla="*/ 265 h 446"/>
                  <a:gd name="T48" fmla="*/ 409 w 432"/>
                  <a:gd name="T49" fmla="*/ 261 h 446"/>
                  <a:gd name="T50" fmla="*/ 401 w 432"/>
                  <a:gd name="T51" fmla="*/ 237 h 446"/>
                  <a:gd name="T52" fmla="*/ 379 w 432"/>
                  <a:gd name="T53" fmla="*/ 216 h 446"/>
                  <a:gd name="T54" fmla="*/ 363 w 432"/>
                  <a:gd name="T55" fmla="*/ 188 h 446"/>
                  <a:gd name="T56" fmla="*/ 353 w 432"/>
                  <a:gd name="T57" fmla="*/ 174 h 446"/>
                  <a:gd name="T58" fmla="*/ 331 w 432"/>
                  <a:gd name="T59" fmla="*/ 156 h 446"/>
                  <a:gd name="T60" fmla="*/ 321 w 432"/>
                  <a:gd name="T61" fmla="*/ 144 h 446"/>
                  <a:gd name="T62" fmla="*/ 313 w 432"/>
                  <a:gd name="T63" fmla="*/ 132 h 446"/>
                  <a:gd name="T64" fmla="*/ 273 w 432"/>
                  <a:gd name="T65" fmla="*/ 104 h 446"/>
                  <a:gd name="T66" fmla="*/ 259 w 432"/>
                  <a:gd name="T67" fmla="*/ 92 h 446"/>
                  <a:gd name="T68" fmla="*/ 241 w 432"/>
                  <a:gd name="T69" fmla="*/ 66 h 446"/>
                  <a:gd name="T70" fmla="*/ 229 w 432"/>
                  <a:gd name="T71" fmla="*/ 52 h 446"/>
                  <a:gd name="T72" fmla="*/ 190 w 432"/>
                  <a:gd name="T73" fmla="*/ 38 h 446"/>
                  <a:gd name="T74" fmla="*/ 192 w 432"/>
                  <a:gd name="T75" fmla="*/ 16 h 446"/>
                  <a:gd name="T76" fmla="*/ 200 w 432"/>
                  <a:gd name="T77" fmla="*/ 6 h 446"/>
                  <a:gd name="T78" fmla="*/ 200 w 432"/>
                  <a:gd name="T79" fmla="*/ 0 h 446"/>
                  <a:gd name="T80" fmla="*/ 0 w 432"/>
                  <a:gd name="T81" fmla="*/ 26 h 44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432" h="446">
                    <a:moveTo>
                      <a:pt x="0" y="26"/>
                    </a:moveTo>
                    <a:lnTo>
                      <a:pt x="58" y="236"/>
                    </a:lnTo>
                    <a:lnTo>
                      <a:pt x="64" y="240"/>
                    </a:lnTo>
                    <a:lnTo>
                      <a:pt x="68" y="256"/>
                    </a:lnTo>
                    <a:lnTo>
                      <a:pt x="70" y="262"/>
                    </a:lnTo>
                    <a:lnTo>
                      <a:pt x="78" y="268"/>
                    </a:lnTo>
                    <a:lnTo>
                      <a:pt x="84" y="272"/>
                    </a:lnTo>
                    <a:lnTo>
                      <a:pt x="82" y="282"/>
                    </a:lnTo>
                    <a:lnTo>
                      <a:pt x="88" y="290"/>
                    </a:lnTo>
                    <a:lnTo>
                      <a:pt x="88" y="292"/>
                    </a:lnTo>
                    <a:lnTo>
                      <a:pt x="80" y="304"/>
                    </a:lnTo>
                    <a:lnTo>
                      <a:pt x="80" y="318"/>
                    </a:lnTo>
                    <a:lnTo>
                      <a:pt x="74" y="330"/>
                    </a:lnTo>
                    <a:lnTo>
                      <a:pt x="76" y="346"/>
                    </a:lnTo>
                    <a:lnTo>
                      <a:pt x="86" y="368"/>
                    </a:lnTo>
                    <a:lnTo>
                      <a:pt x="84" y="394"/>
                    </a:lnTo>
                    <a:lnTo>
                      <a:pt x="94" y="410"/>
                    </a:lnTo>
                    <a:lnTo>
                      <a:pt x="96" y="416"/>
                    </a:lnTo>
                    <a:lnTo>
                      <a:pt x="96" y="420"/>
                    </a:lnTo>
                    <a:lnTo>
                      <a:pt x="104" y="428"/>
                    </a:lnTo>
                    <a:lnTo>
                      <a:pt x="104" y="434"/>
                    </a:lnTo>
                    <a:lnTo>
                      <a:pt x="110" y="442"/>
                    </a:lnTo>
                    <a:lnTo>
                      <a:pt x="336" y="428"/>
                    </a:lnTo>
                    <a:lnTo>
                      <a:pt x="340" y="440"/>
                    </a:lnTo>
                    <a:lnTo>
                      <a:pt x="342" y="444"/>
                    </a:lnTo>
                    <a:lnTo>
                      <a:pt x="354" y="446"/>
                    </a:lnTo>
                    <a:lnTo>
                      <a:pt x="356" y="434"/>
                    </a:lnTo>
                    <a:lnTo>
                      <a:pt x="350" y="412"/>
                    </a:lnTo>
                    <a:lnTo>
                      <a:pt x="350" y="404"/>
                    </a:lnTo>
                    <a:lnTo>
                      <a:pt x="352" y="400"/>
                    </a:lnTo>
                    <a:lnTo>
                      <a:pt x="360" y="396"/>
                    </a:lnTo>
                    <a:lnTo>
                      <a:pt x="376" y="402"/>
                    </a:lnTo>
                    <a:lnTo>
                      <a:pt x="390" y="404"/>
                    </a:lnTo>
                    <a:lnTo>
                      <a:pt x="396" y="402"/>
                    </a:lnTo>
                    <a:lnTo>
                      <a:pt x="394" y="386"/>
                    </a:lnTo>
                    <a:lnTo>
                      <a:pt x="392" y="376"/>
                    </a:lnTo>
                    <a:lnTo>
                      <a:pt x="392" y="366"/>
                    </a:lnTo>
                    <a:lnTo>
                      <a:pt x="394" y="358"/>
                    </a:lnTo>
                    <a:lnTo>
                      <a:pt x="406" y="324"/>
                    </a:lnTo>
                    <a:lnTo>
                      <a:pt x="408" y="310"/>
                    </a:lnTo>
                    <a:lnTo>
                      <a:pt x="412" y="296"/>
                    </a:lnTo>
                    <a:lnTo>
                      <a:pt x="420" y="280"/>
                    </a:lnTo>
                    <a:lnTo>
                      <a:pt x="428" y="274"/>
                    </a:lnTo>
                    <a:lnTo>
                      <a:pt x="430" y="272"/>
                    </a:lnTo>
                    <a:lnTo>
                      <a:pt x="432" y="268"/>
                    </a:lnTo>
                    <a:lnTo>
                      <a:pt x="426" y="266"/>
                    </a:lnTo>
                    <a:lnTo>
                      <a:pt x="426" y="264"/>
                    </a:lnTo>
                    <a:lnTo>
                      <a:pt x="422" y="264"/>
                    </a:lnTo>
                    <a:lnTo>
                      <a:pt x="410" y="262"/>
                    </a:lnTo>
                    <a:lnTo>
                      <a:pt x="408" y="260"/>
                    </a:lnTo>
                    <a:lnTo>
                      <a:pt x="404" y="256"/>
                    </a:lnTo>
                    <a:lnTo>
                      <a:pt x="400" y="236"/>
                    </a:lnTo>
                    <a:lnTo>
                      <a:pt x="390" y="222"/>
                    </a:lnTo>
                    <a:lnTo>
                      <a:pt x="378" y="216"/>
                    </a:lnTo>
                    <a:lnTo>
                      <a:pt x="372" y="196"/>
                    </a:lnTo>
                    <a:lnTo>
                      <a:pt x="362" y="188"/>
                    </a:lnTo>
                    <a:lnTo>
                      <a:pt x="360" y="176"/>
                    </a:lnTo>
                    <a:lnTo>
                      <a:pt x="352" y="174"/>
                    </a:lnTo>
                    <a:lnTo>
                      <a:pt x="338" y="168"/>
                    </a:lnTo>
                    <a:lnTo>
                      <a:pt x="330" y="156"/>
                    </a:lnTo>
                    <a:lnTo>
                      <a:pt x="320" y="150"/>
                    </a:lnTo>
                    <a:lnTo>
                      <a:pt x="320" y="144"/>
                    </a:lnTo>
                    <a:lnTo>
                      <a:pt x="316" y="134"/>
                    </a:lnTo>
                    <a:lnTo>
                      <a:pt x="312" y="132"/>
                    </a:lnTo>
                    <a:lnTo>
                      <a:pt x="298" y="126"/>
                    </a:lnTo>
                    <a:lnTo>
                      <a:pt x="272" y="104"/>
                    </a:lnTo>
                    <a:lnTo>
                      <a:pt x="260" y="100"/>
                    </a:lnTo>
                    <a:lnTo>
                      <a:pt x="258" y="92"/>
                    </a:lnTo>
                    <a:lnTo>
                      <a:pt x="246" y="82"/>
                    </a:lnTo>
                    <a:lnTo>
                      <a:pt x="240" y="66"/>
                    </a:lnTo>
                    <a:lnTo>
                      <a:pt x="232" y="58"/>
                    </a:lnTo>
                    <a:lnTo>
                      <a:pt x="228" y="52"/>
                    </a:lnTo>
                    <a:lnTo>
                      <a:pt x="212" y="50"/>
                    </a:lnTo>
                    <a:lnTo>
                      <a:pt x="190" y="38"/>
                    </a:lnTo>
                    <a:lnTo>
                      <a:pt x="184" y="32"/>
                    </a:lnTo>
                    <a:lnTo>
                      <a:pt x="192" y="16"/>
                    </a:lnTo>
                    <a:lnTo>
                      <a:pt x="196" y="12"/>
                    </a:lnTo>
                    <a:lnTo>
                      <a:pt x="200" y="6"/>
                    </a:lnTo>
                    <a:lnTo>
                      <a:pt x="202" y="2"/>
                    </a:lnTo>
                    <a:lnTo>
                      <a:pt x="200" y="0"/>
                    </a:lnTo>
                    <a:lnTo>
                      <a:pt x="80" y="18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2" name="Freeform 27">
                <a:extLst>
                  <a:ext uri="{FF2B5EF4-FFF2-40B4-BE49-F238E27FC236}">
                    <a16:creationId xmlns:a16="http://schemas.microsoft.com/office/drawing/2014/main" id="{44126067-C292-4E7D-B718-C31631C7E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17" y="2605"/>
                <a:ext cx="724" cy="546"/>
              </a:xfrm>
              <a:custGeom>
                <a:avLst/>
                <a:gdLst>
                  <a:gd name="T0" fmla="*/ 2 w 720"/>
                  <a:gd name="T1" fmla="*/ 46 h 544"/>
                  <a:gd name="T2" fmla="*/ 2 w 720"/>
                  <a:gd name="T3" fmla="*/ 58 h 544"/>
                  <a:gd name="T4" fmla="*/ 14 w 720"/>
                  <a:gd name="T5" fmla="*/ 72 h 544"/>
                  <a:gd name="T6" fmla="*/ 18 w 720"/>
                  <a:gd name="T7" fmla="*/ 88 h 544"/>
                  <a:gd name="T8" fmla="*/ 24 w 720"/>
                  <a:gd name="T9" fmla="*/ 96 h 544"/>
                  <a:gd name="T10" fmla="*/ 20 w 720"/>
                  <a:gd name="T11" fmla="*/ 108 h 544"/>
                  <a:gd name="T12" fmla="*/ 40 w 720"/>
                  <a:gd name="T13" fmla="*/ 102 h 544"/>
                  <a:gd name="T14" fmla="*/ 50 w 720"/>
                  <a:gd name="T15" fmla="*/ 88 h 544"/>
                  <a:gd name="T16" fmla="*/ 62 w 720"/>
                  <a:gd name="T17" fmla="*/ 88 h 544"/>
                  <a:gd name="T18" fmla="*/ 54 w 720"/>
                  <a:gd name="T19" fmla="*/ 100 h 544"/>
                  <a:gd name="T20" fmla="*/ 111 w 720"/>
                  <a:gd name="T21" fmla="*/ 82 h 544"/>
                  <a:gd name="T22" fmla="*/ 109 w 720"/>
                  <a:gd name="T23" fmla="*/ 92 h 544"/>
                  <a:gd name="T24" fmla="*/ 147 w 720"/>
                  <a:gd name="T25" fmla="*/ 100 h 544"/>
                  <a:gd name="T26" fmla="*/ 169 w 720"/>
                  <a:gd name="T27" fmla="*/ 106 h 544"/>
                  <a:gd name="T28" fmla="*/ 185 w 720"/>
                  <a:gd name="T29" fmla="*/ 110 h 544"/>
                  <a:gd name="T30" fmla="*/ 185 w 720"/>
                  <a:gd name="T31" fmla="*/ 116 h 544"/>
                  <a:gd name="T32" fmla="*/ 211 w 720"/>
                  <a:gd name="T33" fmla="*/ 143 h 544"/>
                  <a:gd name="T34" fmla="*/ 205 w 720"/>
                  <a:gd name="T35" fmla="*/ 149 h 544"/>
                  <a:gd name="T36" fmla="*/ 203 w 720"/>
                  <a:gd name="T37" fmla="*/ 153 h 544"/>
                  <a:gd name="T38" fmla="*/ 239 w 720"/>
                  <a:gd name="T39" fmla="*/ 143 h 544"/>
                  <a:gd name="T40" fmla="*/ 292 w 720"/>
                  <a:gd name="T41" fmla="*/ 120 h 544"/>
                  <a:gd name="T42" fmla="*/ 294 w 720"/>
                  <a:gd name="T43" fmla="*/ 102 h 544"/>
                  <a:gd name="T44" fmla="*/ 362 w 720"/>
                  <a:gd name="T45" fmla="*/ 124 h 544"/>
                  <a:gd name="T46" fmla="*/ 404 w 720"/>
                  <a:gd name="T47" fmla="*/ 163 h 544"/>
                  <a:gd name="T48" fmla="*/ 434 w 720"/>
                  <a:gd name="T49" fmla="*/ 177 h 544"/>
                  <a:gd name="T50" fmla="*/ 450 w 720"/>
                  <a:gd name="T51" fmla="*/ 207 h 544"/>
                  <a:gd name="T52" fmla="*/ 448 w 720"/>
                  <a:gd name="T53" fmla="*/ 279 h 544"/>
                  <a:gd name="T54" fmla="*/ 469 w 720"/>
                  <a:gd name="T55" fmla="*/ 317 h 544"/>
                  <a:gd name="T56" fmla="*/ 463 w 720"/>
                  <a:gd name="T57" fmla="*/ 291 h 544"/>
                  <a:gd name="T58" fmla="*/ 479 w 720"/>
                  <a:gd name="T59" fmla="*/ 301 h 544"/>
                  <a:gd name="T60" fmla="*/ 487 w 720"/>
                  <a:gd name="T61" fmla="*/ 293 h 544"/>
                  <a:gd name="T62" fmla="*/ 487 w 720"/>
                  <a:gd name="T63" fmla="*/ 309 h 544"/>
                  <a:gd name="T64" fmla="*/ 473 w 720"/>
                  <a:gd name="T65" fmla="*/ 333 h 544"/>
                  <a:gd name="T66" fmla="*/ 487 w 720"/>
                  <a:gd name="T67" fmla="*/ 355 h 544"/>
                  <a:gd name="T68" fmla="*/ 523 w 720"/>
                  <a:gd name="T69" fmla="*/ 397 h 544"/>
                  <a:gd name="T70" fmla="*/ 535 w 720"/>
                  <a:gd name="T71" fmla="*/ 403 h 544"/>
                  <a:gd name="T72" fmla="*/ 551 w 720"/>
                  <a:gd name="T73" fmla="*/ 432 h 544"/>
                  <a:gd name="T74" fmla="*/ 581 w 720"/>
                  <a:gd name="T75" fmla="*/ 478 h 544"/>
                  <a:gd name="T76" fmla="*/ 634 w 720"/>
                  <a:gd name="T77" fmla="*/ 516 h 544"/>
                  <a:gd name="T78" fmla="*/ 654 w 720"/>
                  <a:gd name="T79" fmla="*/ 528 h 544"/>
                  <a:gd name="T80" fmla="*/ 646 w 720"/>
                  <a:gd name="T81" fmla="*/ 534 h 544"/>
                  <a:gd name="T82" fmla="*/ 640 w 720"/>
                  <a:gd name="T83" fmla="*/ 538 h 544"/>
                  <a:gd name="T84" fmla="*/ 662 w 720"/>
                  <a:gd name="T85" fmla="*/ 542 h 544"/>
                  <a:gd name="T86" fmla="*/ 712 w 720"/>
                  <a:gd name="T87" fmla="*/ 514 h 544"/>
                  <a:gd name="T88" fmla="*/ 710 w 720"/>
                  <a:gd name="T89" fmla="*/ 482 h 544"/>
                  <a:gd name="T90" fmla="*/ 716 w 720"/>
                  <a:gd name="T91" fmla="*/ 434 h 544"/>
                  <a:gd name="T92" fmla="*/ 708 w 720"/>
                  <a:gd name="T93" fmla="*/ 357 h 544"/>
                  <a:gd name="T94" fmla="*/ 666 w 720"/>
                  <a:gd name="T95" fmla="*/ 281 h 544"/>
                  <a:gd name="T96" fmla="*/ 646 w 720"/>
                  <a:gd name="T97" fmla="*/ 249 h 544"/>
                  <a:gd name="T98" fmla="*/ 646 w 720"/>
                  <a:gd name="T99" fmla="*/ 219 h 544"/>
                  <a:gd name="T100" fmla="*/ 607 w 720"/>
                  <a:gd name="T101" fmla="*/ 169 h 544"/>
                  <a:gd name="T102" fmla="*/ 579 w 720"/>
                  <a:gd name="T103" fmla="*/ 139 h 544"/>
                  <a:gd name="T104" fmla="*/ 541 w 720"/>
                  <a:gd name="T105" fmla="*/ 48 h 544"/>
                  <a:gd name="T106" fmla="*/ 531 w 720"/>
                  <a:gd name="T107" fmla="*/ 36 h 544"/>
                  <a:gd name="T108" fmla="*/ 519 w 720"/>
                  <a:gd name="T109" fmla="*/ 8 h 544"/>
                  <a:gd name="T110" fmla="*/ 481 w 720"/>
                  <a:gd name="T111" fmla="*/ 4 h 544"/>
                  <a:gd name="T112" fmla="*/ 485 w 720"/>
                  <a:gd name="T113" fmla="*/ 38 h 544"/>
                  <a:gd name="T114" fmla="*/ 469 w 720"/>
                  <a:gd name="T115" fmla="*/ 44 h 544"/>
                  <a:gd name="T116" fmla="*/ 231 w 720"/>
                  <a:gd name="T117" fmla="*/ 38 h 544"/>
                  <a:gd name="T118" fmla="*/ 223 w 720"/>
                  <a:gd name="T119" fmla="*/ 20 h 54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20" h="544">
                    <a:moveTo>
                      <a:pt x="222" y="20"/>
                    </a:moveTo>
                    <a:lnTo>
                      <a:pt x="2" y="40"/>
                    </a:lnTo>
                    <a:lnTo>
                      <a:pt x="2" y="46"/>
                    </a:lnTo>
                    <a:lnTo>
                      <a:pt x="4" y="48"/>
                    </a:lnTo>
                    <a:lnTo>
                      <a:pt x="0" y="50"/>
                    </a:lnTo>
                    <a:lnTo>
                      <a:pt x="2" y="58"/>
                    </a:lnTo>
                    <a:lnTo>
                      <a:pt x="8" y="66"/>
                    </a:lnTo>
                    <a:lnTo>
                      <a:pt x="12" y="70"/>
                    </a:lnTo>
                    <a:lnTo>
                      <a:pt x="14" y="72"/>
                    </a:lnTo>
                    <a:lnTo>
                      <a:pt x="22" y="76"/>
                    </a:lnTo>
                    <a:lnTo>
                      <a:pt x="22" y="80"/>
                    </a:lnTo>
                    <a:lnTo>
                      <a:pt x="18" y="88"/>
                    </a:lnTo>
                    <a:lnTo>
                      <a:pt x="18" y="90"/>
                    </a:lnTo>
                    <a:lnTo>
                      <a:pt x="24" y="94"/>
                    </a:lnTo>
                    <a:lnTo>
                      <a:pt x="24" y="96"/>
                    </a:lnTo>
                    <a:lnTo>
                      <a:pt x="24" y="98"/>
                    </a:lnTo>
                    <a:lnTo>
                      <a:pt x="20" y="102"/>
                    </a:lnTo>
                    <a:lnTo>
                      <a:pt x="20" y="108"/>
                    </a:lnTo>
                    <a:lnTo>
                      <a:pt x="22" y="110"/>
                    </a:lnTo>
                    <a:lnTo>
                      <a:pt x="36" y="106"/>
                    </a:lnTo>
                    <a:lnTo>
                      <a:pt x="40" y="102"/>
                    </a:lnTo>
                    <a:lnTo>
                      <a:pt x="44" y="90"/>
                    </a:lnTo>
                    <a:lnTo>
                      <a:pt x="46" y="86"/>
                    </a:lnTo>
                    <a:lnTo>
                      <a:pt x="50" y="88"/>
                    </a:lnTo>
                    <a:lnTo>
                      <a:pt x="56" y="88"/>
                    </a:lnTo>
                    <a:lnTo>
                      <a:pt x="58" y="86"/>
                    </a:lnTo>
                    <a:lnTo>
                      <a:pt x="62" y="88"/>
                    </a:lnTo>
                    <a:lnTo>
                      <a:pt x="60" y="90"/>
                    </a:lnTo>
                    <a:lnTo>
                      <a:pt x="52" y="98"/>
                    </a:lnTo>
                    <a:lnTo>
                      <a:pt x="54" y="100"/>
                    </a:lnTo>
                    <a:lnTo>
                      <a:pt x="60" y="96"/>
                    </a:lnTo>
                    <a:lnTo>
                      <a:pt x="72" y="96"/>
                    </a:lnTo>
                    <a:lnTo>
                      <a:pt x="11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08" y="92"/>
                    </a:lnTo>
                    <a:lnTo>
                      <a:pt x="112" y="94"/>
                    </a:lnTo>
                    <a:lnTo>
                      <a:pt x="130" y="94"/>
                    </a:lnTo>
                    <a:lnTo>
                      <a:pt x="146" y="100"/>
                    </a:lnTo>
                    <a:lnTo>
                      <a:pt x="164" y="110"/>
                    </a:lnTo>
                    <a:lnTo>
                      <a:pt x="168" y="112"/>
                    </a:lnTo>
                    <a:lnTo>
                      <a:pt x="168" y="106"/>
                    </a:lnTo>
                    <a:lnTo>
                      <a:pt x="172" y="102"/>
                    </a:lnTo>
                    <a:lnTo>
                      <a:pt x="174" y="108"/>
                    </a:lnTo>
                    <a:lnTo>
                      <a:pt x="184" y="110"/>
                    </a:lnTo>
                    <a:lnTo>
                      <a:pt x="188" y="112"/>
                    </a:lnTo>
                    <a:lnTo>
                      <a:pt x="188" y="114"/>
                    </a:lnTo>
                    <a:lnTo>
                      <a:pt x="184" y="116"/>
                    </a:lnTo>
                    <a:lnTo>
                      <a:pt x="186" y="118"/>
                    </a:lnTo>
                    <a:lnTo>
                      <a:pt x="208" y="136"/>
                    </a:lnTo>
                    <a:lnTo>
                      <a:pt x="210" y="142"/>
                    </a:lnTo>
                    <a:lnTo>
                      <a:pt x="208" y="146"/>
                    </a:lnTo>
                    <a:lnTo>
                      <a:pt x="206" y="150"/>
                    </a:lnTo>
                    <a:lnTo>
                      <a:pt x="204" y="148"/>
                    </a:lnTo>
                    <a:lnTo>
                      <a:pt x="202" y="142"/>
                    </a:lnTo>
                    <a:lnTo>
                      <a:pt x="200" y="148"/>
                    </a:lnTo>
                    <a:lnTo>
                      <a:pt x="202" y="152"/>
                    </a:lnTo>
                    <a:lnTo>
                      <a:pt x="206" y="154"/>
                    </a:lnTo>
                    <a:lnTo>
                      <a:pt x="236" y="146"/>
                    </a:lnTo>
                    <a:lnTo>
                      <a:pt x="238" y="142"/>
                    </a:lnTo>
                    <a:lnTo>
                      <a:pt x="250" y="140"/>
                    </a:lnTo>
                    <a:lnTo>
                      <a:pt x="274" y="120"/>
                    </a:lnTo>
                    <a:lnTo>
                      <a:pt x="290" y="120"/>
                    </a:lnTo>
                    <a:lnTo>
                      <a:pt x="290" y="116"/>
                    </a:lnTo>
                    <a:lnTo>
                      <a:pt x="288" y="112"/>
                    </a:lnTo>
                    <a:lnTo>
                      <a:pt x="292" y="102"/>
                    </a:lnTo>
                    <a:lnTo>
                      <a:pt x="320" y="98"/>
                    </a:lnTo>
                    <a:lnTo>
                      <a:pt x="358" y="118"/>
                    </a:lnTo>
                    <a:lnTo>
                      <a:pt x="360" y="124"/>
                    </a:lnTo>
                    <a:lnTo>
                      <a:pt x="370" y="132"/>
                    </a:lnTo>
                    <a:lnTo>
                      <a:pt x="378" y="146"/>
                    </a:lnTo>
                    <a:lnTo>
                      <a:pt x="402" y="162"/>
                    </a:lnTo>
                    <a:lnTo>
                      <a:pt x="406" y="170"/>
                    </a:lnTo>
                    <a:lnTo>
                      <a:pt x="412" y="176"/>
                    </a:lnTo>
                    <a:lnTo>
                      <a:pt x="432" y="176"/>
                    </a:lnTo>
                    <a:lnTo>
                      <a:pt x="446" y="196"/>
                    </a:lnTo>
                    <a:lnTo>
                      <a:pt x="450" y="200"/>
                    </a:lnTo>
                    <a:lnTo>
                      <a:pt x="448" y="206"/>
                    </a:lnTo>
                    <a:lnTo>
                      <a:pt x="454" y="228"/>
                    </a:lnTo>
                    <a:lnTo>
                      <a:pt x="452" y="252"/>
                    </a:lnTo>
                    <a:lnTo>
                      <a:pt x="446" y="278"/>
                    </a:lnTo>
                    <a:lnTo>
                      <a:pt x="446" y="300"/>
                    </a:lnTo>
                    <a:lnTo>
                      <a:pt x="450" y="306"/>
                    </a:lnTo>
                    <a:lnTo>
                      <a:pt x="466" y="316"/>
                    </a:lnTo>
                    <a:lnTo>
                      <a:pt x="470" y="308"/>
                    </a:lnTo>
                    <a:lnTo>
                      <a:pt x="466" y="304"/>
                    </a:lnTo>
                    <a:lnTo>
                      <a:pt x="460" y="290"/>
                    </a:lnTo>
                    <a:lnTo>
                      <a:pt x="462" y="288"/>
                    </a:lnTo>
                    <a:lnTo>
                      <a:pt x="470" y="286"/>
                    </a:lnTo>
                    <a:lnTo>
                      <a:pt x="476" y="300"/>
                    </a:lnTo>
                    <a:lnTo>
                      <a:pt x="480" y="300"/>
                    </a:lnTo>
                    <a:lnTo>
                      <a:pt x="482" y="292"/>
                    </a:lnTo>
                    <a:lnTo>
                      <a:pt x="484" y="292"/>
                    </a:lnTo>
                    <a:lnTo>
                      <a:pt x="488" y="294"/>
                    </a:lnTo>
                    <a:lnTo>
                      <a:pt x="488" y="300"/>
                    </a:lnTo>
                    <a:lnTo>
                      <a:pt x="484" y="308"/>
                    </a:lnTo>
                    <a:lnTo>
                      <a:pt x="480" y="314"/>
                    </a:lnTo>
                    <a:lnTo>
                      <a:pt x="474" y="330"/>
                    </a:lnTo>
                    <a:lnTo>
                      <a:pt x="470" y="332"/>
                    </a:lnTo>
                    <a:lnTo>
                      <a:pt x="470" y="340"/>
                    </a:lnTo>
                    <a:lnTo>
                      <a:pt x="476" y="346"/>
                    </a:lnTo>
                    <a:lnTo>
                      <a:pt x="484" y="354"/>
                    </a:lnTo>
                    <a:lnTo>
                      <a:pt x="498" y="384"/>
                    </a:lnTo>
                    <a:lnTo>
                      <a:pt x="518" y="396"/>
                    </a:lnTo>
                    <a:lnTo>
                      <a:pt x="520" y="396"/>
                    </a:lnTo>
                    <a:lnTo>
                      <a:pt x="520" y="390"/>
                    </a:lnTo>
                    <a:lnTo>
                      <a:pt x="528" y="390"/>
                    </a:lnTo>
                    <a:lnTo>
                      <a:pt x="532" y="402"/>
                    </a:lnTo>
                    <a:lnTo>
                      <a:pt x="532" y="408"/>
                    </a:lnTo>
                    <a:lnTo>
                      <a:pt x="540" y="424"/>
                    </a:lnTo>
                    <a:lnTo>
                      <a:pt x="548" y="430"/>
                    </a:lnTo>
                    <a:lnTo>
                      <a:pt x="558" y="432"/>
                    </a:lnTo>
                    <a:lnTo>
                      <a:pt x="572" y="474"/>
                    </a:lnTo>
                    <a:lnTo>
                      <a:pt x="578" y="476"/>
                    </a:lnTo>
                    <a:lnTo>
                      <a:pt x="598" y="482"/>
                    </a:lnTo>
                    <a:lnTo>
                      <a:pt x="606" y="486"/>
                    </a:lnTo>
                    <a:lnTo>
                      <a:pt x="630" y="514"/>
                    </a:lnTo>
                    <a:lnTo>
                      <a:pt x="640" y="522"/>
                    </a:lnTo>
                    <a:lnTo>
                      <a:pt x="644" y="522"/>
                    </a:lnTo>
                    <a:lnTo>
                      <a:pt x="650" y="526"/>
                    </a:lnTo>
                    <a:lnTo>
                      <a:pt x="652" y="532"/>
                    </a:lnTo>
                    <a:lnTo>
                      <a:pt x="646" y="532"/>
                    </a:lnTo>
                    <a:lnTo>
                      <a:pt x="642" y="532"/>
                    </a:lnTo>
                    <a:lnTo>
                      <a:pt x="640" y="532"/>
                    </a:lnTo>
                    <a:lnTo>
                      <a:pt x="638" y="532"/>
                    </a:lnTo>
                    <a:lnTo>
                      <a:pt x="636" y="536"/>
                    </a:lnTo>
                    <a:lnTo>
                      <a:pt x="640" y="540"/>
                    </a:lnTo>
                    <a:lnTo>
                      <a:pt x="652" y="544"/>
                    </a:lnTo>
                    <a:lnTo>
                      <a:pt x="658" y="540"/>
                    </a:lnTo>
                    <a:lnTo>
                      <a:pt x="666" y="538"/>
                    </a:lnTo>
                    <a:lnTo>
                      <a:pt x="702" y="524"/>
                    </a:lnTo>
                    <a:lnTo>
                      <a:pt x="708" y="512"/>
                    </a:lnTo>
                    <a:lnTo>
                      <a:pt x="710" y="508"/>
                    </a:lnTo>
                    <a:lnTo>
                      <a:pt x="704" y="490"/>
                    </a:lnTo>
                    <a:lnTo>
                      <a:pt x="706" y="480"/>
                    </a:lnTo>
                    <a:lnTo>
                      <a:pt x="712" y="464"/>
                    </a:lnTo>
                    <a:lnTo>
                      <a:pt x="720" y="466"/>
                    </a:lnTo>
                    <a:lnTo>
                      <a:pt x="712" y="432"/>
                    </a:lnTo>
                    <a:lnTo>
                      <a:pt x="714" y="414"/>
                    </a:lnTo>
                    <a:lnTo>
                      <a:pt x="712" y="382"/>
                    </a:lnTo>
                    <a:lnTo>
                      <a:pt x="704" y="356"/>
                    </a:lnTo>
                    <a:lnTo>
                      <a:pt x="700" y="348"/>
                    </a:lnTo>
                    <a:lnTo>
                      <a:pt x="676" y="316"/>
                    </a:lnTo>
                    <a:lnTo>
                      <a:pt x="662" y="280"/>
                    </a:lnTo>
                    <a:lnTo>
                      <a:pt x="642" y="256"/>
                    </a:lnTo>
                    <a:lnTo>
                      <a:pt x="644" y="252"/>
                    </a:lnTo>
                    <a:lnTo>
                      <a:pt x="642" y="248"/>
                    </a:lnTo>
                    <a:lnTo>
                      <a:pt x="636" y="234"/>
                    </a:lnTo>
                    <a:lnTo>
                      <a:pt x="636" y="228"/>
                    </a:lnTo>
                    <a:lnTo>
                      <a:pt x="642" y="218"/>
                    </a:lnTo>
                    <a:lnTo>
                      <a:pt x="642" y="216"/>
                    </a:lnTo>
                    <a:lnTo>
                      <a:pt x="618" y="182"/>
                    </a:lnTo>
                    <a:lnTo>
                      <a:pt x="604" y="168"/>
                    </a:lnTo>
                    <a:lnTo>
                      <a:pt x="594" y="162"/>
                    </a:lnTo>
                    <a:lnTo>
                      <a:pt x="592" y="158"/>
                    </a:lnTo>
                    <a:lnTo>
                      <a:pt x="576" y="138"/>
                    </a:lnTo>
                    <a:lnTo>
                      <a:pt x="556" y="100"/>
                    </a:lnTo>
                    <a:lnTo>
                      <a:pt x="550" y="78"/>
                    </a:lnTo>
                    <a:lnTo>
                      <a:pt x="538" y="48"/>
                    </a:lnTo>
                    <a:lnTo>
                      <a:pt x="538" y="42"/>
                    </a:lnTo>
                    <a:lnTo>
                      <a:pt x="532" y="38"/>
                    </a:lnTo>
                    <a:lnTo>
                      <a:pt x="528" y="36"/>
                    </a:lnTo>
                    <a:lnTo>
                      <a:pt x="526" y="14"/>
                    </a:lnTo>
                    <a:lnTo>
                      <a:pt x="522" y="6"/>
                    </a:lnTo>
                    <a:lnTo>
                      <a:pt x="516" y="8"/>
                    </a:lnTo>
                    <a:lnTo>
                      <a:pt x="502" y="6"/>
                    </a:lnTo>
                    <a:lnTo>
                      <a:pt x="486" y="0"/>
                    </a:lnTo>
                    <a:lnTo>
                      <a:pt x="478" y="4"/>
                    </a:lnTo>
                    <a:lnTo>
                      <a:pt x="476" y="8"/>
                    </a:lnTo>
                    <a:lnTo>
                      <a:pt x="476" y="16"/>
                    </a:lnTo>
                    <a:lnTo>
                      <a:pt x="482" y="38"/>
                    </a:lnTo>
                    <a:lnTo>
                      <a:pt x="480" y="50"/>
                    </a:lnTo>
                    <a:lnTo>
                      <a:pt x="468" y="48"/>
                    </a:lnTo>
                    <a:lnTo>
                      <a:pt x="466" y="44"/>
                    </a:lnTo>
                    <a:lnTo>
                      <a:pt x="462" y="32"/>
                    </a:lnTo>
                    <a:lnTo>
                      <a:pt x="236" y="46"/>
                    </a:lnTo>
                    <a:lnTo>
                      <a:pt x="230" y="38"/>
                    </a:lnTo>
                    <a:lnTo>
                      <a:pt x="230" y="32"/>
                    </a:lnTo>
                    <a:lnTo>
                      <a:pt x="222" y="24"/>
                    </a:lnTo>
                    <a:lnTo>
                      <a:pt x="222" y="2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" name="Freeform 28">
                <a:extLst>
                  <a:ext uri="{FF2B5EF4-FFF2-40B4-BE49-F238E27FC236}">
                    <a16:creationId xmlns:a16="http://schemas.microsoft.com/office/drawing/2014/main" id="{634A80F6-02E6-4A5D-8E46-FD3C1F1732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27" y="1626"/>
                <a:ext cx="87" cy="138"/>
              </a:xfrm>
              <a:custGeom>
                <a:avLst/>
                <a:gdLst>
                  <a:gd name="T0" fmla="*/ 87 w 86"/>
                  <a:gd name="T1" fmla="*/ 128 h 138"/>
                  <a:gd name="T2" fmla="*/ 87 w 86"/>
                  <a:gd name="T3" fmla="*/ 118 h 138"/>
                  <a:gd name="T4" fmla="*/ 81 w 86"/>
                  <a:gd name="T5" fmla="*/ 104 h 138"/>
                  <a:gd name="T6" fmla="*/ 71 w 86"/>
                  <a:gd name="T7" fmla="*/ 94 h 138"/>
                  <a:gd name="T8" fmla="*/ 57 w 86"/>
                  <a:gd name="T9" fmla="*/ 86 h 138"/>
                  <a:gd name="T10" fmla="*/ 53 w 86"/>
                  <a:gd name="T11" fmla="*/ 80 h 138"/>
                  <a:gd name="T12" fmla="*/ 49 w 86"/>
                  <a:gd name="T13" fmla="*/ 72 h 138"/>
                  <a:gd name="T14" fmla="*/ 38 w 86"/>
                  <a:gd name="T15" fmla="*/ 54 h 138"/>
                  <a:gd name="T16" fmla="*/ 34 w 86"/>
                  <a:gd name="T17" fmla="*/ 46 h 138"/>
                  <a:gd name="T18" fmla="*/ 24 w 86"/>
                  <a:gd name="T19" fmla="*/ 36 h 138"/>
                  <a:gd name="T20" fmla="*/ 22 w 86"/>
                  <a:gd name="T21" fmla="*/ 30 h 138"/>
                  <a:gd name="T22" fmla="*/ 20 w 86"/>
                  <a:gd name="T23" fmla="*/ 24 h 138"/>
                  <a:gd name="T24" fmla="*/ 20 w 86"/>
                  <a:gd name="T25" fmla="*/ 22 h 138"/>
                  <a:gd name="T26" fmla="*/ 20 w 86"/>
                  <a:gd name="T27" fmla="*/ 20 h 138"/>
                  <a:gd name="T28" fmla="*/ 26 w 86"/>
                  <a:gd name="T29" fmla="*/ 2 h 138"/>
                  <a:gd name="T30" fmla="*/ 20 w 86"/>
                  <a:gd name="T31" fmla="*/ 0 h 138"/>
                  <a:gd name="T32" fmla="*/ 12 w 86"/>
                  <a:gd name="T33" fmla="*/ 0 h 138"/>
                  <a:gd name="T34" fmla="*/ 4 w 86"/>
                  <a:gd name="T35" fmla="*/ 8 h 138"/>
                  <a:gd name="T36" fmla="*/ 4 w 86"/>
                  <a:gd name="T37" fmla="*/ 14 h 138"/>
                  <a:gd name="T38" fmla="*/ 2 w 86"/>
                  <a:gd name="T39" fmla="*/ 14 h 138"/>
                  <a:gd name="T40" fmla="*/ 0 w 86"/>
                  <a:gd name="T41" fmla="*/ 16 h 138"/>
                  <a:gd name="T42" fmla="*/ 36 w 86"/>
                  <a:gd name="T43" fmla="*/ 138 h 138"/>
                  <a:gd name="T44" fmla="*/ 87 w 86"/>
                  <a:gd name="T45" fmla="*/ 128 h 13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138">
                    <a:moveTo>
                      <a:pt x="86" y="128"/>
                    </a:moveTo>
                    <a:lnTo>
                      <a:pt x="86" y="118"/>
                    </a:lnTo>
                    <a:lnTo>
                      <a:pt x="80" y="104"/>
                    </a:lnTo>
                    <a:lnTo>
                      <a:pt x="70" y="94"/>
                    </a:lnTo>
                    <a:lnTo>
                      <a:pt x="56" y="86"/>
                    </a:lnTo>
                    <a:lnTo>
                      <a:pt x="52" y="80"/>
                    </a:lnTo>
                    <a:lnTo>
                      <a:pt x="48" y="72"/>
                    </a:lnTo>
                    <a:lnTo>
                      <a:pt x="38" y="54"/>
                    </a:lnTo>
                    <a:lnTo>
                      <a:pt x="34" y="46"/>
                    </a:lnTo>
                    <a:lnTo>
                      <a:pt x="24" y="36"/>
                    </a:lnTo>
                    <a:lnTo>
                      <a:pt x="22" y="30"/>
                    </a:lnTo>
                    <a:lnTo>
                      <a:pt x="20" y="24"/>
                    </a:lnTo>
                    <a:lnTo>
                      <a:pt x="20" y="22"/>
                    </a:lnTo>
                    <a:lnTo>
                      <a:pt x="20" y="20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4" y="8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36" y="138"/>
                    </a:lnTo>
                    <a:lnTo>
                      <a:pt x="86" y="12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" name="Freeform 29">
                <a:extLst>
                  <a:ext uri="{FF2B5EF4-FFF2-40B4-BE49-F238E27FC236}">
                    <a16:creationId xmlns:a16="http://schemas.microsoft.com/office/drawing/2014/main" id="{F4A81EA2-1490-4C53-9D08-E2548FD0F4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48" y="1249"/>
                <a:ext cx="260" cy="134"/>
              </a:xfrm>
              <a:custGeom>
                <a:avLst/>
                <a:gdLst>
                  <a:gd name="T0" fmla="*/ 52 w 260"/>
                  <a:gd name="T1" fmla="*/ 44 h 134"/>
                  <a:gd name="T2" fmla="*/ 138 w 260"/>
                  <a:gd name="T3" fmla="*/ 22 h 134"/>
                  <a:gd name="T4" fmla="*/ 144 w 260"/>
                  <a:gd name="T5" fmla="*/ 22 h 134"/>
                  <a:gd name="T6" fmla="*/ 144 w 260"/>
                  <a:gd name="T7" fmla="*/ 14 h 134"/>
                  <a:gd name="T8" fmla="*/ 156 w 260"/>
                  <a:gd name="T9" fmla="*/ 0 h 134"/>
                  <a:gd name="T10" fmla="*/ 166 w 260"/>
                  <a:gd name="T11" fmla="*/ 2 h 134"/>
                  <a:gd name="T12" fmla="*/ 180 w 260"/>
                  <a:gd name="T13" fmla="*/ 22 h 134"/>
                  <a:gd name="T14" fmla="*/ 182 w 260"/>
                  <a:gd name="T15" fmla="*/ 30 h 134"/>
                  <a:gd name="T16" fmla="*/ 172 w 260"/>
                  <a:gd name="T17" fmla="*/ 42 h 134"/>
                  <a:gd name="T18" fmla="*/ 168 w 260"/>
                  <a:gd name="T19" fmla="*/ 58 h 134"/>
                  <a:gd name="T20" fmla="*/ 190 w 260"/>
                  <a:gd name="T21" fmla="*/ 64 h 134"/>
                  <a:gd name="T22" fmla="*/ 210 w 260"/>
                  <a:gd name="T23" fmla="*/ 88 h 134"/>
                  <a:gd name="T24" fmla="*/ 234 w 260"/>
                  <a:gd name="T25" fmla="*/ 98 h 134"/>
                  <a:gd name="T26" fmla="*/ 250 w 260"/>
                  <a:gd name="T27" fmla="*/ 82 h 134"/>
                  <a:gd name="T28" fmla="*/ 240 w 260"/>
                  <a:gd name="T29" fmla="*/ 72 h 134"/>
                  <a:gd name="T30" fmla="*/ 232 w 260"/>
                  <a:gd name="T31" fmla="*/ 64 h 134"/>
                  <a:gd name="T32" fmla="*/ 242 w 260"/>
                  <a:gd name="T33" fmla="*/ 64 h 134"/>
                  <a:gd name="T34" fmla="*/ 260 w 260"/>
                  <a:gd name="T35" fmla="*/ 98 h 134"/>
                  <a:gd name="T36" fmla="*/ 252 w 260"/>
                  <a:gd name="T37" fmla="*/ 100 h 134"/>
                  <a:gd name="T38" fmla="*/ 232 w 260"/>
                  <a:gd name="T39" fmla="*/ 112 h 134"/>
                  <a:gd name="T40" fmla="*/ 214 w 260"/>
                  <a:gd name="T41" fmla="*/ 124 h 134"/>
                  <a:gd name="T42" fmla="*/ 214 w 260"/>
                  <a:gd name="T43" fmla="*/ 116 h 134"/>
                  <a:gd name="T44" fmla="*/ 208 w 260"/>
                  <a:gd name="T45" fmla="*/ 108 h 134"/>
                  <a:gd name="T46" fmla="*/ 192 w 260"/>
                  <a:gd name="T47" fmla="*/ 132 h 134"/>
                  <a:gd name="T48" fmla="*/ 184 w 260"/>
                  <a:gd name="T49" fmla="*/ 128 h 134"/>
                  <a:gd name="T50" fmla="*/ 180 w 260"/>
                  <a:gd name="T51" fmla="*/ 126 h 134"/>
                  <a:gd name="T52" fmla="*/ 174 w 260"/>
                  <a:gd name="T53" fmla="*/ 120 h 134"/>
                  <a:gd name="T54" fmla="*/ 160 w 260"/>
                  <a:gd name="T55" fmla="*/ 112 h 134"/>
                  <a:gd name="T56" fmla="*/ 152 w 260"/>
                  <a:gd name="T57" fmla="*/ 102 h 134"/>
                  <a:gd name="T58" fmla="*/ 122 w 260"/>
                  <a:gd name="T59" fmla="*/ 98 h 134"/>
                  <a:gd name="T60" fmla="*/ 52 w 260"/>
                  <a:gd name="T61" fmla="*/ 120 h 134"/>
                  <a:gd name="T62" fmla="*/ 48 w 260"/>
                  <a:gd name="T63" fmla="*/ 116 h 134"/>
                  <a:gd name="T64" fmla="*/ 0 w 260"/>
                  <a:gd name="T65" fmla="*/ 124 h 13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60" h="134">
                    <a:moveTo>
                      <a:pt x="0" y="56"/>
                    </a:moveTo>
                    <a:lnTo>
                      <a:pt x="52" y="44"/>
                    </a:lnTo>
                    <a:lnTo>
                      <a:pt x="138" y="26"/>
                    </a:lnTo>
                    <a:lnTo>
                      <a:pt x="138" y="22"/>
                    </a:lnTo>
                    <a:lnTo>
                      <a:pt x="142" y="20"/>
                    </a:lnTo>
                    <a:lnTo>
                      <a:pt x="144" y="22"/>
                    </a:lnTo>
                    <a:lnTo>
                      <a:pt x="144" y="20"/>
                    </a:lnTo>
                    <a:lnTo>
                      <a:pt x="144" y="14"/>
                    </a:lnTo>
                    <a:lnTo>
                      <a:pt x="150" y="12"/>
                    </a:lnTo>
                    <a:lnTo>
                      <a:pt x="156" y="0"/>
                    </a:lnTo>
                    <a:lnTo>
                      <a:pt x="162" y="0"/>
                    </a:lnTo>
                    <a:lnTo>
                      <a:pt x="166" y="2"/>
                    </a:lnTo>
                    <a:lnTo>
                      <a:pt x="170" y="14"/>
                    </a:lnTo>
                    <a:lnTo>
                      <a:pt x="180" y="22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76" y="32"/>
                    </a:lnTo>
                    <a:lnTo>
                      <a:pt x="172" y="42"/>
                    </a:lnTo>
                    <a:lnTo>
                      <a:pt x="168" y="52"/>
                    </a:lnTo>
                    <a:lnTo>
                      <a:pt x="168" y="58"/>
                    </a:lnTo>
                    <a:lnTo>
                      <a:pt x="180" y="58"/>
                    </a:lnTo>
                    <a:lnTo>
                      <a:pt x="190" y="64"/>
                    </a:lnTo>
                    <a:lnTo>
                      <a:pt x="204" y="78"/>
                    </a:lnTo>
                    <a:lnTo>
                      <a:pt x="210" y="88"/>
                    </a:lnTo>
                    <a:lnTo>
                      <a:pt x="216" y="96"/>
                    </a:lnTo>
                    <a:lnTo>
                      <a:pt x="234" y="98"/>
                    </a:lnTo>
                    <a:lnTo>
                      <a:pt x="244" y="94"/>
                    </a:lnTo>
                    <a:lnTo>
                      <a:pt x="250" y="82"/>
                    </a:lnTo>
                    <a:lnTo>
                      <a:pt x="246" y="78"/>
                    </a:lnTo>
                    <a:lnTo>
                      <a:pt x="240" y="72"/>
                    </a:lnTo>
                    <a:lnTo>
                      <a:pt x="232" y="68"/>
                    </a:lnTo>
                    <a:lnTo>
                      <a:pt x="232" y="64"/>
                    </a:lnTo>
                    <a:lnTo>
                      <a:pt x="238" y="64"/>
                    </a:lnTo>
                    <a:lnTo>
                      <a:pt x="242" y="64"/>
                    </a:lnTo>
                    <a:lnTo>
                      <a:pt x="254" y="82"/>
                    </a:lnTo>
                    <a:lnTo>
                      <a:pt x="260" y="98"/>
                    </a:lnTo>
                    <a:lnTo>
                      <a:pt x="260" y="106"/>
                    </a:lnTo>
                    <a:lnTo>
                      <a:pt x="252" y="100"/>
                    </a:lnTo>
                    <a:lnTo>
                      <a:pt x="244" y="106"/>
                    </a:lnTo>
                    <a:lnTo>
                      <a:pt x="232" y="112"/>
                    </a:lnTo>
                    <a:lnTo>
                      <a:pt x="220" y="124"/>
                    </a:lnTo>
                    <a:lnTo>
                      <a:pt x="214" y="124"/>
                    </a:lnTo>
                    <a:lnTo>
                      <a:pt x="214" y="122"/>
                    </a:lnTo>
                    <a:lnTo>
                      <a:pt x="214" y="116"/>
                    </a:lnTo>
                    <a:lnTo>
                      <a:pt x="212" y="108"/>
                    </a:lnTo>
                    <a:lnTo>
                      <a:pt x="208" y="108"/>
                    </a:lnTo>
                    <a:lnTo>
                      <a:pt x="202" y="120"/>
                    </a:lnTo>
                    <a:lnTo>
                      <a:pt x="192" y="132"/>
                    </a:lnTo>
                    <a:lnTo>
                      <a:pt x="190" y="134"/>
                    </a:lnTo>
                    <a:lnTo>
                      <a:pt x="184" y="128"/>
                    </a:lnTo>
                    <a:lnTo>
                      <a:pt x="184" y="126"/>
                    </a:lnTo>
                    <a:lnTo>
                      <a:pt x="180" y="126"/>
                    </a:lnTo>
                    <a:lnTo>
                      <a:pt x="178" y="124"/>
                    </a:lnTo>
                    <a:lnTo>
                      <a:pt x="174" y="120"/>
                    </a:lnTo>
                    <a:lnTo>
                      <a:pt x="174" y="116"/>
                    </a:lnTo>
                    <a:lnTo>
                      <a:pt x="160" y="112"/>
                    </a:lnTo>
                    <a:lnTo>
                      <a:pt x="156" y="104"/>
                    </a:lnTo>
                    <a:lnTo>
                      <a:pt x="152" y="102"/>
                    </a:lnTo>
                    <a:lnTo>
                      <a:pt x="148" y="92"/>
                    </a:lnTo>
                    <a:lnTo>
                      <a:pt x="122" y="98"/>
                    </a:lnTo>
                    <a:lnTo>
                      <a:pt x="54" y="116"/>
                    </a:lnTo>
                    <a:lnTo>
                      <a:pt x="52" y="120"/>
                    </a:lnTo>
                    <a:lnTo>
                      <a:pt x="52" y="122"/>
                    </a:lnTo>
                    <a:lnTo>
                      <a:pt x="48" y="116"/>
                    </a:lnTo>
                    <a:lnTo>
                      <a:pt x="2" y="128"/>
                    </a:lnTo>
                    <a:lnTo>
                      <a:pt x="0" y="124"/>
                    </a:lnTo>
                    <a:lnTo>
                      <a:pt x="0" y="5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" name="Freeform 30">
                <a:extLst>
                  <a:ext uri="{FF2B5EF4-FFF2-40B4-BE49-F238E27FC236}">
                    <a16:creationId xmlns:a16="http://schemas.microsoft.com/office/drawing/2014/main" id="{84CAA22B-306D-4E29-8DF7-F46F390983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71" y="1339"/>
                <a:ext cx="67" cy="78"/>
              </a:xfrm>
              <a:custGeom>
                <a:avLst/>
                <a:gdLst>
                  <a:gd name="T0" fmla="*/ 0 w 68"/>
                  <a:gd name="T1" fmla="*/ 6 h 76"/>
                  <a:gd name="T2" fmla="*/ 14 w 68"/>
                  <a:gd name="T3" fmla="*/ 64 h 76"/>
                  <a:gd name="T4" fmla="*/ 12 w 68"/>
                  <a:gd name="T5" fmla="*/ 70 h 76"/>
                  <a:gd name="T6" fmla="*/ 12 w 68"/>
                  <a:gd name="T7" fmla="*/ 72 h 76"/>
                  <a:gd name="T8" fmla="*/ 12 w 68"/>
                  <a:gd name="T9" fmla="*/ 76 h 76"/>
                  <a:gd name="T10" fmla="*/ 12 w 68"/>
                  <a:gd name="T11" fmla="*/ 78 h 76"/>
                  <a:gd name="T12" fmla="*/ 16 w 68"/>
                  <a:gd name="T13" fmla="*/ 78 h 76"/>
                  <a:gd name="T14" fmla="*/ 30 w 68"/>
                  <a:gd name="T15" fmla="*/ 68 h 76"/>
                  <a:gd name="T16" fmla="*/ 39 w 68"/>
                  <a:gd name="T17" fmla="*/ 62 h 76"/>
                  <a:gd name="T18" fmla="*/ 39 w 68"/>
                  <a:gd name="T19" fmla="*/ 55 h 76"/>
                  <a:gd name="T20" fmla="*/ 35 w 68"/>
                  <a:gd name="T21" fmla="*/ 49 h 76"/>
                  <a:gd name="T22" fmla="*/ 35 w 68"/>
                  <a:gd name="T23" fmla="*/ 41 h 76"/>
                  <a:gd name="T24" fmla="*/ 41 w 68"/>
                  <a:gd name="T25" fmla="*/ 35 h 76"/>
                  <a:gd name="T26" fmla="*/ 45 w 68"/>
                  <a:gd name="T27" fmla="*/ 37 h 76"/>
                  <a:gd name="T28" fmla="*/ 45 w 68"/>
                  <a:gd name="T29" fmla="*/ 43 h 76"/>
                  <a:gd name="T30" fmla="*/ 45 w 68"/>
                  <a:gd name="T31" fmla="*/ 55 h 76"/>
                  <a:gd name="T32" fmla="*/ 47 w 68"/>
                  <a:gd name="T33" fmla="*/ 57 h 76"/>
                  <a:gd name="T34" fmla="*/ 51 w 68"/>
                  <a:gd name="T35" fmla="*/ 57 h 76"/>
                  <a:gd name="T36" fmla="*/ 51 w 68"/>
                  <a:gd name="T37" fmla="*/ 49 h 76"/>
                  <a:gd name="T38" fmla="*/ 55 w 68"/>
                  <a:gd name="T39" fmla="*/ 49 h 76"/>
                  <a:gd name="T40" fmla="*/ 59 w 68"/>
                  <a:gd name="T41" fmla="*/ 47 h 76"/>
                  <a:gd name="T42" fmla="*/ 67 w 68"/>
                  <a:gd name="T43" fmla="*/ 45 h 76"/>
                  <a:gd name="T44" fmla="*/ 67 w 68"/>
                  <a:gd name="T45" fmla="*/ 43 h 76"/>
                  <a:gd name="T46" fmla="*/ 61 w 68"/>
                  <a:gd name="T47" fmla="*/ 37 h 76"/>
                  <a:gd name="T48" fmla="*/ 61 w 68"/>
                  <a:gd name="T49" fmla="*/ 35 h 76"/>
                  <a:gd name="T50" fmla="*/ 57 w 68"/>
                  <a:gd name="T51" fmla="*/ 35 h 76"/>
                  <a:gd name="T52" fmla="*/ 55 w 68"/>
                  <a:gd name="T53" fmla="*/ 33 h 76"/>
                  <a:gd name="T54" fmla="*/ 51 w 68"/>
                  <a:gd name="T55" fmla="*/ 29 h 76"/>
                  <a:gd name="T56" fmla="*/ 51 w 68"/>
                  <a:gd name="T57" fmla="*/ 25 h 76"/>
                  <a:gd name="T58" fmla="*/ 37 w 68"/>
                  <a:gd name="T59" fmla="*/ 21 h 76"/>
                  <a:gd name="T60" fmla="*/ 34 w 68"/>
                  <a:gd name="T61" fmla="*/ 12 h 76"/>
                  <a:gd name="T62" fmla="*/ 30 w 68"/>
                  <a:gd name="T63" fmla="*/ 10 h 76"/>
                  <a:gd name="T64" fmla="*/ 26 w 68"/>
                  <a:gd name="T65" fmla="*/ 0 h 76"/>
                  <a:gd name="T66" fmla="*/ 0 w 68"/>
                  <a:gd name="T67" fmla="*/ 6 h 7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68" h="76">
                    <a:moveTo>
                      <a:pt x="0" y="6"/>
                    </a:moveTo>
                    <a:lnTo>
                      <a:pt x="14" y="62"/>
                    </a:lnTo>
                    <a:lnTo>
                      <a:pt x="12" y="68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6"/>
                    </a:lnTo>
                    <a:lnTo>
                      <a:pt x="16" y="76"/>
                    </a:lnTo>
                    <a:lnTo>
                      <a:pt x="30" y="66"/>
                    </a:lnTo>
                    <a:lnTo>
                      <a:pt x="40" y="60"/>
                    </a:lnTo>
                    <a:lnTo>
                      <a:pt x="40" y="54"/>
                    </a:lnTo>
                    <a:lnTo>
                      <a:pt x="36" y="48"/>
                    </a:lnTo>
                    <a:lnTo>
                      <a:pt x="36" y="40"/>
                    </a:lnTo>
                    <a:lnTo>
                      <a:pt x="42" y="34"/>
                    </a:lnTo>
                    <a:lnTo>
                      <a:pt x="46" y="36"/>
                    </a:lnTo>
                    <a:lnTo>
                      <a:pt x="46" y="42"/>
                    </a:lnTo>
                    <a:lnTo>
                      <a:pt x="46" y="54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60" y="46"/>
                    </a:lnTo>
                    <a:lnTo>
                      <a:pt x="68" y="44"/>
                    </a:lnTo>
                    <a:lnTo>
                      <a:pt x="68" y="42"/>
                    </a:lnTo>
                    <a:lnTo>
                      <a:pt x="62" y="36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2"/>
                    </a:lnTo>
                    <a:lnTo>
                      <a:pt x="52" y="28"/>
                    </a:lnTo>
                    <a:lnTo>
                      <a:pt x="52" y="24"/>
                    </a:lnTo>
                    <a:lnTo>
                      <a:pt x="38" y="20"/>
                    </a:lnTo>
                    <a:lnTo>
                      <a:pt x="34" y="12"/>
                    </a:lnTo>
                    <a:lnTo>
                      <a:pt x="30" y="10"/>
                    </a:lnTo>
                    <a:lnTo>
                      <a:pt x="2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" name="Freeform 32">
                <a:extLst>
                  <a:ext uri="{FF2B5EF4-FFF2-40B4-BE49-F238E27FC236}">
                    <a16:creationId xmlns:a16="http://schemas.microsoft.com/office/drawing/2014/main" id="{C06FB35A-A541-4F8A-918F-7A093D8ADC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89" y="1017"/>
                <a:ext cx="127" cy="275"/>
              </a:xfrm>
              <a:custGeom>
                <a:avLst/>
                <a:gdLst>
                  <a:gd name="T0" fmla="*/ 125 w 126"/>
                  <a:gd name="T1" fmla="*/ 233 h 274"/>
                  <a:gd name="T2" fmla="*/ 121 w 126"/>
                  <a:gd name="T3" fmla="*/ 231 h 274"/>
                  <a:gd name="T4" fmla="*/ 115 w 126"/>
                  <a:gd name="T5" fmla="*/ 231 h 274"/>
                  <a:gd name="T6" fmla="*/ 109 w 126"/>
                  <a:gd name="T7" fmla="*/ 243 h 274"/>
                  <a:gd name="T8" fmla="*/ 103 w 126"/>
                  <a:gd name="T9" fmla="*/ 245 h 274"/>
                  <a:gd name="T10" fmla="*/ 103 w 126"/>
                  <a:gd name="T11" fmla="*/ 251 h 274"/>
                  <a:gd name="T12" fmla="*/ 103 w 126"/>
                  <a:gd name="T13" fmla="*/ 253 h 274"/>
                  <a:gd name="T14" fmla="*/ 101 w 126"/>
                  <a:gd name="T15" fmla="*/ 251 h 274"/>
                  <a:gd name="T16" fmla="*/ 97 w 126"/>
                  <a:gd name="T17" fmla="*/ 253 h 274"/>
                  <a:gd name="T18" fmla="*/ 97 w 126"/>
                  <a:gd name="T19" fmla="*/ 257 h 274"/>
                  <a:gd name="T20" fmla="*/ 10 w 126"/>
                  <a:gd name="T21" fmla="*/ 275 h 274"/>
                  <a:gd name="T22" fmla="*/ 10 w 126"/>
                  <a:gd name="T23" fmla="*/ 271 h 274"/>
                  <a:gd name="T24" fmla="*/ 4 w 126"/>
                  <a:gd name="T25" fmla="*/ 265 h 274"/>
                  <a:gd name="T26" fmla="*/ 4 w 126"/>
                  <a:gd name="T27" fmla="*/ 255 h 274"/>
                  <a:gd name="T28" fmla="*/ 6 w 126"/>
                  <a:gd name="T29" fmla="*/ 251 h 274"/>
                  <a:gd name="T30" fmla="*/ 4 w 126"/>
                  <a:gd name="T31" fmla="*/ 241 h 274"/>
                  <a:gd name="T32" fmla="*/ 0 w 126"/>
                  <a:gd name="T33" fmla="*/ 201 h 274"/>
                  <a:gd name="T34" fmla="*/ 0 w 126"/>
                  <a:gd name="T35" fmla="*/ 189 h 274"/>
                  <a:gd name="T36" fmla="*/ 4 w 126"/>
                  <a:gd name="T37" fmla="*/ 165 h 274"/>
                  <a:gd name="T38" fmla="*/ 8 w 126"/>
                  <a:gd name="T39" fmla="*/ 149 h 274"/>
                  <a:gd name="T40" fmla="*/ 10 w 126"/>
                  <a:gd name="T41" fmla="*/ 139 h 274"/>
                  <a:gd name="T42" fmla="*/ 4 w 126"/>
                  <a:gd name="T43" fmla="*/ 128 h 274"/>
                  <a:gd name="T44" fmla="*/ 4 w 126"/>
                  <a:gd name="T45" fmla="*/ 120 h 274"/>
                  <a:gd name="T46" fmla="*/ 8 w 126"/>
                  <a:gd name="T47" fmla="*/ 114 h 274"/>
                  <a:gd name="T48" fmla="*/ 24 w 126"/>
                  <a:gd name="T49" fmla="*/ 102 h 274"/>
                  <a:gd name="T50" fmla="*/ 32 w 126"/>
                  <a:gd name="T51" fmla="*/ 80 h 274"/>
                  <a:gd name="T52" fmla="*/ 24 w 126"/>
                  <a:gd name="T53" fmla="*/ 66 h 274"/>
                  <a:gd name="T54" fmla="*/ 22 w 126"/>
                  <a:gd name="T55" fmla="*/ 60 h 274"/>
                  <a:gd name="T56" fmla="*/ 26 w 126"/>
                  <a:gd name="T57" fmla="*/ 56 h 274"/>
                  <a:gd name="T58" fmla="*/ 24 w 126"/>
                  <a:gd name="T59" fmla="*/ 52 h 274"/>
                  <a:gd name="T60" fmla="*/ 20 w 126"/>
                  <a:gd name="T61" fmla="*/ 38 h 274"/>
                  <a:gd name="T62" fmla="*/ 24 w 126"/>
                  <a:gd name="T63" fmla="*/ 20 h 274"/>
                  <a:gd name="T64" fmla="*/ 20 w 126"/>
                  <a:gd name="T65" fmla="*/ 14 h 274"/>
                  <a:gd name="T66" fmla="*/ 22 w 126"/>
                  <a:gd name="T67" fmla="*/ 10 h 274"/>
                  <a:gd name="T68" fmla="*/ 26 w 126"/>
                  <a:gd name="T69" fmla="*/ 10 h 274"/>
                  <a:gd name="T70" fmla="*/ 30 w 126"/>
                  <a:gd name="T71" fmla="*/ 4 h 274"/>
                  <a:gd name="T72" fmla="*/ 34 w 126"/>
                  <a:gd name="T73" fmla="*/ 6 h 274"/>
                  <a:gd name="T74" fmla="*/ 38 w 126"/>
                  <a:gd name="T75" fmla="*/ 6 h 274"/>
                  <a:gd name="T76" fmla="*/ 42 w 126"/>
                  <a:gd name="T77" fmla="*/ 0 h 274"/>
                  <a:gd name="T78" fmla="*/ 99 w 126"/>
                  <a:gd name="T79" fmla="*/ 169 h 274"/>
                  <a:gd name="T80" fmla="*/ 101 w 126"/>
                  <a:gd name="T81" fmla="*/ 173 h 274"/>
                  <a:gd name="T82" fmla="*/ 101 w 126"/>
                  <a:gd name="T83" fmla="*/ 181 h 274"/>
                  <a:gd name="T84" fmla="*/ 101 w 126"/>
                  <a:gd name="T85" fmla="*/ 183 h 274"/>
                  <a:gd name="T86" fmla="*/ 115 w 126"/>
                  <a:gd name="T87" fmla="*/ 195 h 274"/>
                  <a:gd name="T88" fmla="*/ 117 w 126"/>
                  <a:gd name="T89" fmla="*/ 195 h 274"/>
                  <a:gd name="T90" fmla="*/ 119 w 126"/>
                  <a:gd name="T91" fmla="*/ 201 h 274"/>
                  <a:gd name="T92" fmla="*/ 119 w 126"/>
                  <a:gd name="T93" fmla="*/ 203 h 274"/>
                  <a:gd name="T94" fmla="*/ 127 w 126"/>
                  <a:gd name="T95" fmla="*/ 217 h 274"/>
                  <a:gd name="T96" fmla="*/ 127 w 126"/>
                  <a:gd name="T97" fmla="*/ 221 h 274"/>
                  <a:gd name="T98" fmla="*/ 125 w 126"/>
                  <a:gd name="T99" fmla="*/ 227 h 274"/>
                  <a:gd name="T100" fmla="*/ 125 w 126"/>
                  <a:gd name="T101" fmla="*/ 233 h 27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26" h="274">
                    <a:moveTo>
                      <a:pt x="124" y="232"/>
                    </a:moveTo>
                    <a:lnTo>
                      <a:pt x="120" y="230"/>
                    </a:lnTo>
                    <a:lnTo>
                      <a:pt x="114" y="230"/>
                    </a:lnTo>
                    <a:lnTo>
                      <a:pt x="108" y="242"/>
                    </a:lnTo>
                    <a:lnTo>
                      <a:pt x="102" y="244"/>
                    </a:lnTo>
                    <a:lnTo>
                      <a:pt x="102" y="250"/>
                    </a:lnTo>
                    <a:lnTo>
                      <a:pt x="102" y="252"/>
                    </a:lnTo>
                    <a:lnTo>
                      <a:pt x="100" y="250"/>
                    </a:lnTo>
                    <a:lnTo>
                      <a:pt x="96" y="252"/>
                    </a:lnTo>
                    <a:lnTo>
                      <a:pt x="96" y="256"/>
                    </a:lnTo>
                    <a:lnTo>
                      <a:pt x="10" y="274"/>
                    </a:lnTo>
                    <a:lnTo>
                      <a:pt x="10" y="270"/>
                    </a:lnTo>
                    <a:lnTo>
                      <a:pt x="4" y="264"/>
                    </a:lnTo>
                    <a:lnTo>
                      <a:pt x="4" y="254"/>
                    </a:lnTo>
                    <a:lnTo>
                      <a:pt x="6" y="250"/>
                    </a:lnTo>
                    <a:lnTo>
                      <a:pt x="4" y="240"/>
                    </a:lnTo>
                    <a:lnTo>
                      <a:pt x="0" y="200"/>
                    </a:lnTo>
                    <a:lnTo>
                      <a:pt x="0" y="188"/>
                    </a:lnTo>
                    <a:lnTo>
                      <a:pt x="4" y="164"/>
                    </a:lnTo>
                    <a:lnTo>
                      <a:pt x="8" y="148"/>
                    </a:lnTo>
                    <a:lnTo>
                      <a:pt x="10" y="138"/>
                    </a:lnTo>
                    <a:lnTo>
                      <a:pt x="4" y="128"/>
                    </a:lnTo>
                    <a:lnTo>
                      <a:pt x="4" y="120"/>
                    </a:lnTo>
                    <a:lnTo>
                      <a:pt x="8" y="114"/>
                    </a:lnTo>
                    <a:lnTo>
                      <a:pt x="24" y="102"/>
                    </a:lnTo>
                    <a:lnTo>
                      <a:pt x="32" y="80"/>
                    </a:lnTo>
                    <a:lnTo>
                      <a:pt x="24" y="66"/>
                    </a:lnTo>
                    <a:lnTo>
                      <a:pt x="22" y="60"/>
                    </a:lnTo>
                    <a:lnTo>
                      <a:pt x="26" y="56"/>
                    </a:lnTo>
                    <a:lnTo>
                      <a:pt x="24" y="52"/>
                    </a:lnTo>
                    <a:lnTo>
                      <a:pt x="20" y="38"/>
                    </a:lnTo>
                    <a:lnTo>
                      <a:pt x="24" y="20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0"/>
                    </a:lnTo>
                    <a:lnTo>
                      <a:pt x="98" y="168"/>
                    </a:lnTo>
                    <a:lnTo>
                      <a:pt x="100" y="172"/>
                    </a:lnTo>
                    <a:lnTo>
                      <a:pt x="100" y="180"/>
                    </a:lnTo>
                    <a:lnTo>
                      <a:pt x="100" y="182"/>
                    </a:lnTo>
                    <a:lnTo>
                      <a:pt x="114" y="194"/>
                    </a:lnTo>
                    <a:lnTo>
                      <a:pt x="116" y="194"/>
                    </a:lnTo>
                    <a:lnTo>
                      <a:pt x="118" y="200"/>
                    </a:lnTo>
                    <a:lnTo>
                      <a:pt x="118" y="202"/>
                    </a:lnTo>
                    <a:lnTo>
                      <a:pt x="126" y="216"/>
                    </a:lnTo>
                    <a:lnTo>
                      <a:pt x="126" y="220"/>
                    </a:lnTo>
                    <a:lnTo>
                      <a:pt x="124" y="226"/>
                    </a:lnTo>
                    <a:lnTo>
                      <a:pt x="124" y="23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7" name="Freeform 33">
                <a:extLst>
                  <a:ext uri="{FF2B5EF4-FFF2-40B4-BE49-F238E27FC236}">
                    <a16:creationId xmlns:a16="http://schemas.microsoft.com/office/drawing/2014/main" id="{F8B49055-3978-478D-9684-83D62D1AB5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2" y="767"/>
                <a:ext cx="289" cy="467"/>
              </a:xfrm>
              <a:custGeom>
                <a:avLst/>
                <a:gdLst>
                  <a:gd name="T0" fmla="*/ 56 w 288"/>
                  <a:gd name="T1" fmla="*/ 419 h 464"/>
                  <a:gd name="T2" fmla="*/ 58 w 288"/>
                  <a:gd name="T3" fmla="*/ 431 h 464"/>
                  <a:gd name="T4" fmla="*/ 72 w 288"/>
                  <a:gd name="T5" fmla="*/ 445 h 464"/>
                  <a:gd name="T6" fmla="*/ 76 w 288"/>
                  <a:gd name="T7" fmla="*/ 451 h 464"/>
                  <a:gd name="T8" fmla="*/ 84 w 288"/>
                  <a:gd name="T9" fmla="*/ 467 h 464"/>
                  <a:gd name="T10" fmla="*/ 88 w 288"/>
                  <a:gd name="T11" fmla="*/ 453 h 464"/>
                  <a:gd name="T12" fmla="*/ 94 w 288"/>
                  <a:gd name="T13" fmla="*/ 429 h 464"/>
                  <a:gd name="T14" fmla="*/ 106 w 288"/>
                  <a:gd name="T15" fmla="*/ 403 h 464"/>
                  <a:gd name="T16" fmla="*/ 104 w 288"/>
                  <a:gd name="T17" fmla="*/ 397 h 464"/>
                  <a:gd name="T18" fmla="*/ 118 w 288"/>
                  <a:gd name="T19" fmla="*/ 368 h 464"/>
                  <a:gd name="T20" fmla="*/ 124 w 288"/>
                  <a:gd name="T21" fmla="*/ 378 h 464"/>
                  <a:gd name="T22" fmla="*/ 130 w 288"/>
                  <a:gd name="T23" fmla="*/ 378 h 464"/>
                  <a:gd name="T24" fmla="*/ 130 w 288"/>
                  <a:gd name="T25" fmla="*/ 364 h 464"/>
                  <a:gd name="T26" fmla="*/ 151 w 288"/>
                  <a:gd name="T27" fmla="*/ 358 h 464"/>
                  <a:gd name="T28" fmla="*/ 155 w 288"/>
                  <a:gd name="T29" fmla="*/ 348 h 464"/>
                  <a:gd name="T30" fmla="*/ 167 w 288"/>
                  <a:gd name="T31" fmla="*/ 344 h 464"/>
                  <a:gd name="T32" fmla="*/ 173 w 288"/>
                  <a:gd name="T33" fmla="*/ 330 h 464"/>
                  <a:gd name="T34" fmla="*/ 179 w 288"/>
                  <a:gd name="T35" fmla="*/ 310 h 464"/>
                  <a:gd name="T36" fmla="*/ 183 w 288"/>
                  <a:gd name="T37" fmla="*/ 304 h 464"/>
                  <a:gd name="T38" fmla="*/ 199 w 288"/>
                  <a:gd name="T39" fmla="*/ 302 h 464"/>
                  <a:gd name="T40" fmla="*/ 205 w 288"/>
                  <a:gd name="T41" fmla="*/ 288 h 464"/>
                  <a:gd name="T42" fmla="*/ 217 w 288"/>
                  <a:gd name="T43" fmla="*/ 276 h 464"/>
                  <a:gd name="T44" fmla="*/ 235 w 288"/>
                  <a:gd name="T45" fmla="*/ 284 h 464"/>
                  <a:gd name="T46" fmla="*/ 253 w 288"/>
                  <a:gd name="T47" fmla="*/ 260 h 464"/>
                  <a:gd name="T48" fmla="*/ 273 w 288"/>
                  <a:gd name="T49" fmla="*/ 240 h 464"/>
                  <a:gd name="T50" fmla="*/ 279 w 288"/>
                  <a:gd name="T51" fmla="*/ 238 h 464"/>
                  <a:gd name="T52" fmla="*/ 289 w 288"/>
                  <a:gd name="T53" fmla="*/ 227 h 464"/>
                  <a:gd name="T54" fmla="*/ 283 w 288"/>
                  <a:gd name="T55" fmla="*/ 217 h 464"/>
                  <a:gd name="T56" fmla="*/ 277 w 288"/>
                  <a:gd name="T57" fmla="*/ 215 h 464"/>
                  <a:gd name="T58" fmla="*/ 283 w 288"/>
                  <a:gd name="T59" fmla="*/ 207 h 464"/>
                  <a:gd name="T60" fmla="*/ 277 w 288"/>
                  <a:gd name="T61" fmla="*/ 189 h 464"/>
                  <a:gd name="T62" fmla="*/ 263 w 288"/>
                  <a:gd name="T63" fmla="*/ 185 h 464"/>
                  <a:gd name="T64" fmla="*/ 255 w 288"/>
                  <a:gd name="T65" fmla="*/ 191 h 464"/>
                  <a:gd name="T66" fmla="*/ 241 w 288"/>
                  <a:gd name="T67" fmla="*/ 163 h 464"/>
                  <a:gd name="T68" fmla="*/ 243 w 288"/>
                  <a:gd name="T69" fmla="*/ 155 h 464"/>
                  <a:gd name="T70" fmla="*/ 237 w 288"/>
                  <a:gd name="T71" fmla="*/ 153 h 464"/>
                  <a:gd name="T72" fmla="*/ 223 w 288"/>
                  <a:gd name="T73" fmla="*/ 151 h 464"/>
                  <a:gd name="T74" fmla="*/ 213 w 288"/>
                  <a:gd name="T75" fmla="*/ 149 h 464"/>
                  <a:gd name="T76" fmla="*/ 209 w 288"/>
                  <a:gd name="T77" fmla="*/ 131 h 464"/>
                  <a:gd name="T78" fmla="*/ 142 w 288"/>
                  <a:gd name="T79" fmla="*/ 2 h 464"/>
                  <a:gd name="T80" fmla="*/ 128 w 288"/>
                  <a:gd name="T81" fmla="*/ 2 h 464"/>
                  <a:gd name="T82" fmla="*/ 122 w 288"/>
                  <a:gd name="T83" fmla="*/ 12 h 464"/>
                  <a:gd name="T84" fmla="*/ 108 w 288"/>
                  <a:gd name="T85" fmla="*/ 16 h 464"/>
                  <a:gd name="T86" fmla="*/ 88 w 288"/>
                  <a:gd name="T87" fmla="*/ 30 h 464"/>
                  <a:gd name="T88" fmla="*/ 82 w 288"/>
                  <a:gd name="T89" fmla="*/ 12 h 464"/>
                  <a:gd name="T90" fmla="*/ 74 w 288"/>
                  <a:gd name="T91" fmla="*/ 8 h 464"/>
                  <a:gd name="T92" fmla="*/ 38 w 288"/>
                  <a:gd name="T93" fmla="*/ 97 h 464"/>
                  <a:gd name="T94" fmla="*/ 42 w 288"/>
                  <a:gd name="T95" fmla="*/ 115 h 464"/>
                  <a:gd name="T96" fmla="*/ 40 w 288"/>
                  <a:gd name="T97" fmla="*/ 131 h 464"/>
                  <a:gd name="T98" fmla="*/ 32 w 288"/>
                  <a:gd name="T99" fmla="*/ 143 h 464"/>
                  <a:gd name="T100" fmla="*/ 36 w 288"/>
                  <a:gd name="T101" fmla="*/ 189 h 464"/>
                  <a:gd name="T102" fmla="*/ 24 w 288"/>
                  <a:gd name="T103" fmla="*/ 215 h 464"/>
                  <a:gd name="T104" fmla="*/ 26 w 288"/>
                  <a:gd name="T105" fmla="*/ 231 h 464"/>
                  <a:gd name="T106" fmla="*/ 18 w 288"/>
                  <a:gd name="T107" fmla="*/ 234 h 464"/>
                  <a:gd name="T108" fmla="*/ 18 w 288"/>
                  <a:gd name="T109" fmla="*/ 248 h 464"/>
                  <a:gd name="T110" fmla="*/ 8 w 288"/>
                  <a:gd name="T111" fmla="*/ 246 h 4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288" h="464">
                    <a:moveTo>
                      <a:pt x="0" y="248"/>
                    </a:moveTo>
                    <a:lnTo>
                      <a:pt x="56" y="416"/>
                    </a:lnTo>
                    <a:lnTo>
                      <a:pt x="58" y="420"/>
                    </a:lnTo>
                    <a:lnTo>
                      <a:pt x="58" y="428"/>
                    </a:lnTo>
                    <a:lnTo>
                      <a:pt x="58" y="430"/>
                    </a:lnTo>
                    <a:lnTo>
                      <a:pt x="72" y="442"/>
                    </a:lnTo>
                    <a:lnTo>
                      <a:pt x="74" y="442"/>
                    </a:lnTo>
                    <a:lnTo>
                      <a:pt x="76" y="448"/>
                    </a:lnTo>
                    <a:lnTo>
                      <a:pt x="76" y="450"/>
                    </a:lnTo>
                    <a:lnTo>
                      <a:pt x="84" y="464"/>
                    </a:lnTo>
                    <a:lnTo>
                      <a:pt x="86" y="462"/>
                    </a:lnTo>
                    <a:lnTo>
                      <a:pt x="88" y="450"/>
                    </a:lnTo>
                    <a:lnTo>
                      <a:pt x="88" y="438"/>
                    </a:lnTo>
                    <a:lnTo>
                      <a:pt x="94" y="426"/>
                    </a:lnTo>
                    <a:lnTo>
                      <a:pt x="100" y="408"/>
                    </a:lnTo>
                    <a:lnTo>
                      <a:pt x="106" y="400"/>
                    </a:lnTo>
                    <a:lnTo>
                      <a:pt x="108" y="396"/>
                    </a:lnTo>
                    <a:lnTo>
                      <a:pt x="104" y="394"/>
                    </a:lnTo>
                    <a:lnTo>
                      <a:pt x="100" y="384"/>
                    </a:lnTo>
                    <a:lnTo>
                      <a:pt x="118" y="366"/>
                    </a:lnTo>
                    <a:lnTo>
                      <a:pt x="122" y="368"/>
                    </a:lnTo>
                    <a:lnTo>
                      <a:pt x="124" y="376"/>
                    </a:lnTo>
                    <a:lnTo>
                      <a:pt x="126" y="378"/>
                    </a:lnTo>
                    <a:lnTo>
                      <a:pt x="130" y="376"/>
                    </a:lnTo>
                    <a:lnTo>
                      <a:pt x="130" y="368"/>
                    </a:lnTo>
                    <a:lnTo>
                      <a:pt x="130" y="362"/>
                    </a:lnTo>
                    <a:lnTo>
                      <a:pt x="144" y="360"/>
                    </a:lnTo>
                    <a:lnTo>
                      <a:pt x="150" y="356"/>
                    </a:lnTo>
                    <a:lnTo>
                      <a:pt x="150" y="348"/>
                    </a:lnTo>
                    <a:lnTo>
                      <a:pt x="154" y="346"/>
                    </a:lnTo>
                    <a:lnTo>
                      <a:pt x="160" y="346"/>
                    </a:lnTo>
                    <a:lnTo>
                      <a:pt x="166" y="342"/>
                    </a:lnTo>
                    <a:lnTo>
                      <a:pt x="168" y="338"/>
                    </a:lnTo>
                    <a:lnTo>
                      <a:pt x="172" y="328"/>
                    </a:lnTo>
                    <a:lnTo>
                      <a:pt x="170" y="318"/>
                    </a:lnTo>
                    <a:lnTo>
                      <a:pt x="178" y="308"/>
                    </a:lnTo>
                    <a:lnTo>
                      <a:pt x="178" y="302"/>
                    </a:lnTo>
                    <a:lnTo>
                      <a:pt x="182" y="302"/>
                    </a:lnTo>
                    <a:lnTo>
                      <a:pt x="192" y="304"/>
                    </a:lnTo>
                    <a:lnTo>
                      <a:pt x="198" y="300"/>
                    </a:lnTo>
                    <a:lnTo>
                      <a:pt x="200" y="296"/>
                    </a:lnTo>
                    <a:lnTo>
                      <a:pt x="204" y="286"/>
                    </a:lnTo>
                    <a:lnTo>
                      <a:pt x="208" y="286"/>
                    </a:lnTo>
                    <a:lnTo>
                      <a:pt x="216" y="274"/>
                    </a:lnTo>
                    <a:lnTo>
                      <a:pt x="226" y="276"/>
                    </a:lnTo>
                    <a:lnTo>
                      <a:pt x="234" y="282"/>
                    </a:lnTo>
                    <a:lnTo>
                      <a:pt x="244" y="264"/>
                    </a:lnTo>
                    <a:lnTo>
                      <a:pt x="252" y="258"/>
                    </a:lnTo>
                    <a:lnTo>
                      <a:pt x="268" y="246"/>
                    </a:lnTo>
                    <a:lnTo>
                      <a:pt x="272" y="238"/>
                    </a:lnTo>
                    <a:lnTo>
                      <a:pt x="274" y="236"/>
                    </a:lnTo>
                    <a:lnTo>
                      <a:pt x="278" y="236"/>
                    </a:lnTo>
                    <a:lnTo>
                      <a:pt x="286" y="234"/>
                    </a:lnTo>
                    <a:lnTo>
                      <a:pt x="288" y="226"/>
                    </a:lnTo>
                    <a:lnTo>
                      <a:pt x="288" y="218"/>
                    </a:lnTo>
                    <a:lnTo>
                      <a:pt x="282" y="216"/>
                    </a:lnTo>
                    <a:lnTo>
                      <a:pt x="280" y="216"/>
                    </a:lnTo>
                    <a:lnTo>
                      <a:pt x="276" y="214"/>
                    </a:lnTo>
                    <a:lnTo>
                      <a:pt x="280" y="208"/>
                    </a:lnTo>
                    <a:lnTo>
                      <a:pt x="282" y="206"/>
                    </a:lnTo>
                    <a:lnTo>
                      <a:pt x="280" y="200"/>
                    </a:lnTo>
                    <a:lnTo>
                      <a:pt x="276" y="188"/>
                    </a:lnTo>
                    <a:lnTo>
                      <a:pt x="268" y="184"/>
                    </a:lnTo>
                    <a:lnTo>
                      <a:pt x="262" y="184"/>
                    </a:lnTo>
                    <a:lnTo>
                      <a:pt x="260" y="188"/>
                    </a:lnTo>
                    <a:lnTo>
                      <a:pt x="254" y="190"/>
                    </a:lnTo>
                    <a:lnTo>
                      <a:pt x="248" y="188"/>
                    </a:lnTo>
                    <a:lnTo>
                      <a:pt x="240" y="162"/>
                    </a:lnTo>
                    <a:lnTo>
                      <a:pt x="244" y="158"/>
                    </a:lnTo>
                    <a:lnTo>
                      <a:pt x="242" y="154"/>
                    </a:lnTo>
                    <a:lnTo>
                      <a:pt x="240" y="152"/>
                    </a:lnTo>
                    <a:lnTo>
                      <a:pt x="236" y="152"/>
                    </a:lnTo>
                    <a:lnTo>
                      <a:pt x="232" y="154"/>
                    </a:lnTo>
                    <a:lnTo>
                      <a:pt x="222" y="150"/>
                    </a:lnTo>
                    <a:lnTo>
                      <a:pt x="216" y="150"/>
                    </a:lnTo>
                    <a:lnTo>
                      <a:pt x="212" y="148"/>
                    </a:lnTo>
                    <a:lnTo>
                      <a:pt x="208" y="132"/>
                    </a:lnTo>
                    <a:lnTo>
                      <a:pt x="208" y="130"/>
                    </a:lnTo>
                    <a:lnTo>
                      <a:pt x="172" y="20"/>
                    </a:lnTo>
                    <a:lnTo>
                      <a:pt x="142" y="2"/>
                    </a:lnTo>
                    <a:lnTo>
                      <a:pt x="134" y="0"/>
                    </a:lnTo>
                    <a:lnTo>
                      <a:pt x="128" y="2"/>
                    </a:lnTo>
                    <a:lnTo>
                      <a:pt x="124" y="6"/>
                    </a:lnTo>
                    <a:lnTo>
                      <a:pt x="122" y="12"/>
                    </a:lnTo>
                    <a:lnTo>
                      <a:pt x="118" y="12"/>
                    </a:lnTo>
                    <a:lnTo>
                      <a:pt x="108" y="16"/>
                    </a:lnTo>
                    <a:lnTo>
                      <a:pt x="92" y="30"/>
                    </a:lnTo>
                    <a:lnTo>
                      <a:pt x="88" y="30"/>
                    </a:lnTo>
                    <a:lnTo>
                      <a:pt x="82" y="22"/>
                    </a:lnTo>
                    <a:lnTo>
                      <a:pt x="82" y="12"/>
                    </a:lnTo>
                    <a:lnTo>
                      <a:pt x="80" y="8"/>
                    </a:lnTo>
                    <a:lnTo>
                      <a:pt x="74" y="8"/>
                    </a:lnTo>
                    <a:lnTo>
                      <a:pt x="64" y="12"/>
                    </a:lnTo>
                    <a:lnTo>
                      <a:pt x="38" y="96"/>
                    </a:lnTo>
                    <a:lnTo>
                      <a:pt x="38" y="110"/>
                    </a:lnTo>
                    <a:lnTo>
                      <a:pt x="42" y="114"/>
                    </a:lnTo>
                    <a:lnTo>
                      <a:pt x="42" y="124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2" y="142"/>
                    </a:lnTo>
                    <a:lnTo>
                      <a:pt x="40" y="176"/>
                    </a:lnTo>
                    <a:lnTo>
                      <a:pt x="36" y="188"/>
                    </a:lnTo>
                    <a:lnTo>
                      <a:pt x="36" y="196"/>
                    </a:lnTo>
                    <a:lnTo>
                      <a:pt x="24" y="214"/>
                    </a:lnTo>
                    <a:lnTo>
                      <a:pt x="22" y="220"/>
                    </a:lnTo>
                    <a:lnTo>
                      <a:pt x="26" y="230"/>
                    </a:lnTo>
                    <a:lnTo>
                      <a:pt x="26" y="232"/>
                    </a:lnTo>
                    <a:lnTo>
                      <a:pt x="18" y="232"/>
                    </a:lnTo>
                    <a:lnTo>
                      <a:pt x="20" y="240"/>
                    </a:lnTo>
                    <a:lnTo>
                      <a:pt x="18" y="246"/>
                    </a:lnTo>
                    <a:lnTo>
                      <a:pt x="14" y="246"/>
                    </a:lnTo>
                    <a:lnTo>
                      <a:pt x="8" y="244"/>
                    </a:lnTo>
                    <a:lnTo>
                      <a:pt x="0" y="24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" name="Freeform 34">
                <a:extLst>
                  <a:ext uri="{FF2B5EF4-FFF2-40B4-BE49-F238E27FC236}">
                    <a16:creationId xmlns:a16="http://schemas.microsoft.com/office/drawing/2014/main" id="{4E87E856-E1EB-4DEC-A4D1-7749849847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13" y="2112"/>
                <a:ext cx="392" cy="364"/>
              </a:xfrm>
              <a:custGeom>
                <a:avLst/>
                <a:gdLst>
                  <a:gd name="T0" fmla="*/ 0 w 392"/>
                  <a:gd name="T1" fmla="*/ 16 h 360"/>
                  <a:gd name="T2" fmla="*/ 352 w 392"/>
                  <a:gd name="T3" fmla="*/ 0 h 360"/>
                  <a:gd name="T4" fmla="*/ 350 w 392"/>
                  <a:gd name="T5" fmla="*/ 4 h 360"/>
                  <a:gd name="T6" fmla="*/ 358 w 392"/>
                  <a:gd name="T7" fmla="*/ 10 h 360"/>
                  <a:gd name="T8" fmla="*/ 362 w 392"/>
                  <a:gd name="T9" fmla="*/ 18 h 360"/>
                  <a:gd name="T10" fmla="*/ 360 w 392"/>
                  <a:gd name="T11" fmla="*/ 26 h 360"/>
                  <a:gd name="T12" fmla="*/ 350 w 392"/>
                  <a:gd name="T13" fmla="*/ 34 h 360"/>
                  <a:gd name="T14" fmla="*/ 340 w 392"/>
                  <a:gd name="T15" fmla="*/ 47 h 360"/>
                  <a:gd name="T16" fmla="*/ 338 w 392"/>
                  <a:gd name="T17" fmla="*/ 53 h 360"/>
                  <a:gd name="T18" fmla="*/ 392 w 392"/>
                  <a:gd name="T19" fmla="*/ 49 h 360"/>
                  <a:gd name="T20" fmla="*/ 390 w 392"/>
                  <a:gd name="T21" fmla="*/ 55 h 360"/>
                  <a:gd name="T22" fmla="*/ 392 w 392"/>
                  <a:gd name="T23" fmla="*/ 59 h 360"/>
                  <a:gd name="T24" fmla="*/ 388 w 392"/>
                  <a:gd name="T25" fmla="*/ 67 h 360"/>
                  <a:gd name="T26" fmla="*/ 378 w 392"/>
                  <a:gd name="T27" fmla="*/ 77 h 360"/>
                  <a:gd name="T28" fmla="*/ 374 w 392"/>
                  <a:gd name="T29" fmla="*/ 99 h 360"/>
                  <a:gd name="T30" fmla="*/ 364 w 392"/>
                  <a:gd name="T31" fmla="*/ 111 h 360"/>
                  <a:gd name="T32" fmla="*/ 366 w 392"/>
                  <a:gd name="T33" fmla="*/ 125 h 360"/>
                  <a:gd name="T34" fmla="*/ 364 w 392"/>
                  <a:gd name="T35" fmla="*/ 144 h 360"/>
                  <a:gd name="T36" fmla="*/ 362 w 392"/>
                  <a:gd name="T37" fmla="*/ 144 h 360"/>
                  <a:gd name="T38" fmla="*/ 354 w 392"/>
                  <a:gd name="T39" fmla="*/ 154 h 360"/>
                  <a:gd name="T40" fmla="*/ 352 w 392"/>
                  <a:gd name="T41" fmla="*/ 158 h 360"/>
                  <a:gd name="T42" fmla="*/ 336 w 392"/>
                  <a:gd name="T43" fmla="*/ 172 h 360"/>
                  <a:gd name="T44" fmla="*/ 332 w 392"/>
                  <a:gd name="T45" fmla="*/ 188 h 360"/>
                  <a:gd name="T46" fmla="*/ 332 w 392"/>
                  <a:gd name="T47" fmla="*/ 202 h 360"/>
                  <a:gd name="T48" fmla="*/ 330 w 392"/>
                  <a:gd name="T49" fmla="*/ 212 h 360"/>
                  <a:gd name="T50" fmla="*/ 316 w 392"/>
                  <a:gd name="T51" fmla="*/ 220 h 360"/>
                  <a:gd name="T52" fmla="*/ 306 w 392"/>
                  <a:gd name="T53" fmla="*/ 237 h 360"/>
                  <a:gd name="T54" fmla="*/ 302 w 392"/>
                  <a:gd name="T55" fmla="*/ 241 h 360"/>
                  <a:gd name="T56" fmla="*/ 302 w 392"/>
                  <a:gd name="T57" fmla="*/ 253 h 360"/>
                  <a:gd name="T58" fmla="*/ 294 w 392"/>
                  <a:gd name="T59" fmla="*/ 263 h 360"/>
                  <a:gd name="T60" fmla="*/ 294 w 392"/>
                  <a:gd name="T61" fmla="*/ 273 h 360"/>
                  <a:gd name="T62" fmla="*/ 290 w 392"/>
                  <a:gd name="T63" fmla="*/ 285 h 360"/>
                  <a:gd name="T64" fmla="*/ 282 w 392"/>
                  <a:gd name="T65" fmla="*/ 299 h 360"/>
                  <a:gd name="T66" fmla="*/ 284 w 392"/>
                  <a:gd name="T67" fmla="*/ 315 h 360"/>
                  <a:gd name="T68" fmla="*/ 292 w 392"/>
                  <a:gd name="T69" fmla="*/ 324 h 360"/>
                  <a:gd name="T70" fmla="*/ 294 w 392"/>
                  <a:gd name="T71" fmla="*/ 334 h 360"/>
                  <a:gd name="T72" fmla="*/ 296 w 392"/>
                  <a:gd name="T73" fmla="*/ 336 h 360"/>
                  <a:gd name="T74" fmla="*/ 296 w 392"/>
                  <a:gd name="T75" fmla="*/ 340 h 360"/>
                  <a:gd name="T76" fmla="*/ 292 w 392"/>
                  <a:gd name="T77" fmla="*/ 344 h 360"/>
                  <a:gd name="T78" fmla="*/ 290 w 392"/>
                  <a:gd name="T79" fmla="*/ 352 h 360"/>
                  <a:gd name="T80" fmla="*/ 290 w 392"/>
                  <a:gd name="T81" fmla="*/ 358 h 360"/>
                  <a:gd name="T82" fmla="*/ 50 w 392"/>
                  <a:gd name="T83" fmla="*/ 364 h 360"/>
                  <a:gd name="T84" fmla="*/ 50 w 392"/>
                  <a:gd name="T85" fmla="*/ 311 h 360"/>
                  <a:gd name="T86" fmla="*/ 38 w 392"/>
                  <a:gd name="T87" fmla="*/ 309 h 360"/>
                  <a:gd name="T88" fmla="*/ 28 w 392"/>
                  <a:gd name="T89" fmla="*/ 313 h 360"/>
                  <a:gd name="T90" fmla="*/ 24 w 392"/>
                  <a:gd name="T91" fmla="*/ 311 h 360"/>
                  <a:gd name="T92" fmla="*/ 12 w 392"/>
                  <a:gd name="T93" fmla="*/ 303 h 360"/>
                  <a:gd name="T94" fmla="*/ 14 w 392"/>
                  <a:gd name="T95" fmla="*/ 125 h 360"/>
                  <a:gd name="T96" fmla="*/ 0 w 392"/>
                  <a:gd name="T97" fmla="*/ 16 h 36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392" h="360">
                    <a:moveTo>
                      <a:pt x="0" y="16"/>
                    </a:moveTo>
                    <a:lnTo>
                      <a:pt x="352" y="0"/>
                    </a:lnTo>
                    <a:lnTo>
                      <a:pt x="350" y="4"/>
                    </a:lnTo>
                    <a:lnTo>
                      <a:pt x="358" y="10"/>
                    </a:lnTo>
                    <a:lnTo>
                      <a:pt x="362" y="18"/>
                    </a:lnTo>
                    <a:lnTo>
                      <a:pt x="360" y="26"/>
                    </a:lnTo>
                    <a:lnTo>
                      <a:pt x="350" y="34"/>
                    </a:lnTo>
                    <a:lnTo>
                      <a:pt x="340" y="46"/>
                    </a:lnTo>
                    <a:lnTo>
                      <a:pt x="338" y="52"/>
                    </a:lnTo>
                    <a:lnTo>
                      <a:pt x="392" y="48"/>
                    </a:lnTo>
                    <a:lnTo>
                      <a:pt x="390" y="54"/>
                    </a:lnTo>
                    <a:lnTo>
                      <a:pt x="392" y="58"/>
                    </a:lnTo>
                    <a:lnTo>
                      <a:pt x="388" y="66"/>
                    </a:lnTo>
                    <a:lnTo>
                      <a:pt x="378" y="76"/>
                    </a:lnTo>
                    <a:lnTo>
                      <a:pt x="374" y="98"/>
                    </a:lnTo>
                    <a:lnTo>
                      <a:pt x="364" y="110"/>
                    </a:lnTo>
                    <a:lnTo>
                      <a:pt x="366" y="124"/>
                    </a:lnTo>
                    <a:lnTo>
                      <a:pt x="364" y="142"/>
                    </a:lnTo>
                    <a:lnTo>
                      <a:pt x="362" y="142"/>
                    </a:lnTo>
                    <a:lnTo>
                      <a:pt x="354" y="152"/>
                    </a:lnTo>
                    <a:lnTo>
                      <a:pt x="352" y="156"/>
                    </a:lnTo>
                    <a:lnTo>
                      <a:pt x="336" y="170"/>
                    </a:lnTo>
                    <a:lnTo>
                      <a:pt x="332" y="186"/>
                    </a:lnTo>
                    <a:lnTo>
                      <a:pt x="332" y="200"/>
                    </a:lnTo>
                    <a:lnTo>
                      <a:pt x="330" y="210"/>
                    </a:lnTo>
                    <a:lnTo>
                      <a:pt x="316" y="218"/>
                    </a:lnTo>
                    <a:lnTo>
                      <a:pt x="306" y="234"/>
                    </a:lnTo>
                    <a:lnTo>
                      <a:pt x="302" y="238"/>
                    </a:lnTo>
                    <a:lnTo>
                      <a:pt x="302" y="250"/>
                    </a:lnTo>
                    <a:lnTo>
                      <a:pt x="294" y="260"/>
                    </a:lnTo>
                    <a:lnTo>
                      <a:pt x="294" y="270"/>
                    </a:lnTo>
                    <a:lnTo>
                      <a:pt x="290" y="282"/>
                    </a:lnTo>
                    <a:lnTo>
                      <a:pt x="282" y="296"/>
                    </a:lnTo>
                    <a:lnTo>
                      <a:pt x="284" y="312"/>
                    </a:lnTo>
                    <a:lnTo>
                      <a:pt x="292" y="320"/>
                    </a:lnTo>
                    <a:lnTo>
                      <a:pt x="294" y="330"/>
                    </a:lnTo>
                    <a:lnTo>
                      <a:pt x="296" y="332"/>
                    </a:lnTo>
                    <a:lnTo>
                      <a:pt x="296" y="336"/>
                    </a:lnTo>
                    <a:lnTo>
                      <a:pt x="292" y="340"/>
                    </a:lnTo>
                    <a:lnTo>
                      <a:pt x="290" y="348"/>
                    </a:lnTo>
                    <a:lnTo>
                      <a:pt x="290" y="354"/>
                    </a:lnTo>
                    <a:lnTo>
                      <a:pt x="50" y="360"/>
                    </a:lnTo>
                    <a:lnTo>
                      <a:pt x="50" y="308"/>
                    </a:lnTo>
                    <a:lnTo>
                      <a:pt x="38" y="306"/>
                    </a:lnTo>
                    <a:lnTo>
                      <a:pt x="28" y="310"/>
                    </a:lnTo>
                    <a:lnTo>
                      <a:pt x="24" y="308"/>
                    </a:lnTo>
                    <a:lnTo>
                      <a:pt x="12" y="300"/>
                    </a:lnTo>
                    <a:lnTo>
                      <a:pt x="14" y="124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" name="Freeform 35">
                <a:extLst>
                  <a:ext uri="{FF2B5EF4-FFF2-40B4-BE49-F238E27FC236}">
                    <a16:creationId xmlns:a16="http://schemas.microsoft.com/office/drawing/2014/main" id="{1073ACFD-0DBC-40A8-A9E3-39DBC9A739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78" y="1453"/>
                <a:ext cx="450" cy="555"/>
              </a:xfrm>
              <a:custGeom>
                <a:avLst/>
                <a:gdLst>
                  <a:gd name="T0" fmla="*/ 396 w 446"/>
                  <a:gd name="T1" fmla="*/ 555 h 554"/>
                  <a:gd name="T2" fmla="*/ 450 w 446"/>
                  <a:gd name="T3" fmla="*/ 158 h 554"/>
                  <a:gd name="T4" fmla="*/ 303 w 446"/>
                  <a:gd name="T5" fmla="*/ 136 h 554"/>
                  <a:gd name="T6" fmla="*/ 317 w 446"/>
                  <a:gd name="T7" fmla="*/ 40 h 554"/>
                  <a:gd name="T8" fmla="*/ 97 w 446"/>
                  <a:gd name="T9" fmla="*/ 0 h 554"/>
                  <a:gd name="T10" fmla="*/ 0 w 446"/>
                  <a:gd name="T11" fmla="*/ 493 h 554"/>
                  <a:gd name="T12" fmla="*/ 0 w 446"/>
                  <a:gd name="T13" fmla="*/ 493 h 554"/>
                  <a:gd name="T14" fmla="*/ 396 w 446"/>
                  <a:gd name="T15" fmla="*/ 555 h 55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6" h="554">
                    <a:moveTo>
                      <a:pt x="392" y="554"/>
                    </a:moveTo>
                    <a:lnTo>
                      <a:pt x="446" y="158"/>
                    </a:lnTo>
                    <a:lnTo>
                      <a:pt x="300" y="136"/>
                    </a:lnTo>
                    <a:lnTo>
                      <a:pt x="314" y="40"/>
                    </a:lnTo>
                    <a:lnTo>
                      <a:pt x="96" y="0"/>
                    </a:lnTo>
                    <a:lnTo>
                      <a:pt x="0" y="492"/>
                    </a:lnTo>
                    <a:lnTo>
                      <a:pt x="392" y="55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0" name="Freeform 36">
                <a:extLst>
                  <a:ext uri="{FF2B5EF4-FFF2-40B4-BE49-F238E27FC236}">
                    <a16:creationId xmlns:a16="http://schemas.microsoft.com/office/drawing/2014/main" id="{5CA34DAC-B6B3-46E5-BC9F-853396C14F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54" y="743"/>
                <a:ext cx="811" cy="513"/>
              </a:xfrm>
              <a:custGeom>
                <a:avLst/>
                <a:gdLst>
                  <a:gd name="T0" fmla="*/ 284 w 806"/>
                  <a:gd name="T1" fmla="*/ 453 h 510"/>
                  <a:gd name="T2" fmla="*/ 276 w 806"/>
                  <a:gd name="T3" fmla="*/ 503 h 510"/>
                  <a:gd name="T4" fmla="*/ 268 w 806"/>
                  <a:gd name="T5" fmla="*/ 483 h 510"/>
                  <a:gd name="T6" fmla="*/ 248 w 806"/>
                  <a:gd name="T7" fmla="*/ 481 h 510"/>
                  <a:gd name="T8" fmla="*/ 229 w 806"/>
                  <a:gd name="T9" fmla="*/ 489 h 510"/>
                  <a:gd name="T10" fmla="*/ 217 w 806"/>
                  <a:gd name="T11" fmla="*/ 485 h 510"/>
                  <a:gd name="T12" fmla="*/ 193 w 806"/>
                  <a:gd name="T13" fmla="*/ 481 h 510"/>
                  <a:gd name="T14" fmla="*/ 181 w 806"/>
                  <a:gd name="T15" fmla="*/ 489 h 510"/>
                  <a:gd name="T16" fmla="*/ 161 w 806"/>
                  <a:gd name="T17" fmla="*/ 481 h 510"/>
                  <a:gd name="T18" fmla="*/ 151 w 806"/>
                  <a:gd name="T19" fmla="*/ 493 h 510"/>
                  <a:gd name="T20" fmla="*/ 135 w 806"/>
                  <a:gd name="T21" fmla="*/ 477 h 510"/>
                  <a:gd name="T22" fmla="*/ 139 w 806"/>
                  <a:gd name="T23" fmla="*/ 461 h 510"/>
                  <a:gd name="T24" fmla="*/ 129 w 806"/>
                  <a:gd name="T25" fmla="*/ 445 h 510"/>
                  <a:gd name="T26" fmla="*/ 113 w 806"/>
                  <a:gd name="T27" fmla="*/ 431 h 510"/>
                  <a:gd name="T28" fmla="*/ 119 w 806"/>
                  <a:gd name="T29" fmla="*/ 416 h 510"/>
                  <a:gd name="T30" fmla="*/ 107 w 806"/>
                  <a:gd name="T31" fmla="*/ 392 h 510"/>
                  <a:gd name="T32" fmla="*/ 109 w 806"/>
                  <a:gd name="T33" fmla="*/ 360 h 510"/>
                  <a:gd name="T34" fmla="*/ 101 w 806"/>
                  <a:gd name="T35" fmla="*/ 354 h 510"/>
                  <a:gd name="T36" fmla="*/ 97 w 806"/>
                  <a:gd name="T37" fmla="*/ 346 h 510"/>
                  <a:gd name="T38" fmla="*/ 72 w 806"/>
                  <a:gd name="T39" fmla="*/ 364 h 510"/>
                  <a:gd name="T40" fmla="*/ 54 w 806"/>
                  <a:gd name="T41" fmla="*/ 352 h 510"/>
                  <a:gd name="T42" fmla="*/ 56 w 806"/>
                  <a:gd name="T43" fmla="*/ 338 h 510"/>
                  <a:gd name="T44" fmla="*/ 68 w 806"/>
                  <a:gd name="T45" fmla="*/ 322 h 510"/>
                  <a:gd name="T46" fmla="*/ 66 w 806"/>
                  <a:gd name="T47" fmla="*/ 312 h 510"/>
                  <a:gd name="T48" fmla="*/ 74 w 806"/>
                  <a:gd name="T49" fmla="*/ 290 h 510"/>
                  <a:gd name="T50" fmla="*/ 89 w 806"/>
                  <a:gd name="T51" fmla="*/ 253 h 510"/>
                  <a:gd name="T52" fmla="*/ 68 w 806"/>
                  <a:gd name="T53" fmla="*/ 245 h 510"/>
                  <a:gd name="T54" fmla="*/ 58 w 806"/>
                  <a:gd name="T55" fmla="*/ 237 h 510"/>
                  <a:gd name="T56" fmla="*/ 50 w 806"/>
                  <a:gd name="T57" fmla="*/ 211 h 510"/>
                  <a:gd name="T58" fmla="*/ 20 w 806"/>
                  <a:gd name="T59" fmla="*/ 169 h 510"/>
                  <a:gd name="T60" fmla="*/ 8 w 806"/>
                  <a:gd name="T61" fmla="*/ 153 h 510"/>
                  <a:gd name="T62" fmla="*/ 16 w 806"/>
                  <a:gd name="T63" fmla="*/ 139 h 510"/>
                  <a:gd name="T64" fmla="*/ 0 w 806"/>
                  <a:gd name="T65" fmla="*/ 95 h 510"/>
                  <a:gd name="T66" fmla="*/ 93 w 806"/>
                  <a:gd name="T67" fmla="*/ 12 h 510"/>
                  <a:gd name="T68" fmla="*/ 493 w 806"/>
                  <a:gd name="T69" fmla="*/ 80 h 510"/>
                  <a:gd name="T70" fmla="*/ 787 w 806"/>
                  <a:gd name="T71" fmla="*/ 416 h 51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806" h="510">
                    <a:moveTo>
                      <a:pt x="772" y="510"/>
                    </a:moveTo>
                    <a:lnTo>
                      <a:pt x="282" y="450"/>
                    </a:lnTo>
                    <a:lnTo>
                      <a:pt x="274" y="500"/>
                    </a:lnTo>
                    <a:lnTo>
                      <a:pt x="268" y="492"/>
                    </a:lnTo>
                    <a:lnTo>
                      <a:pt x="266" y="480"/>
                    </a:lnTo>
                    <a:lnTo>
                      <a:pt x="256" y="472"/>
                    </a:lnTo>
                    <a:lnTo>
                      <a:pt x="246" y="478"/>
                    </a:lnTo>
                    <a:lnTo>
                      <a:pt x="248" y="486"/>
                    </a:lnTo>
                    <a:lnTo>
                      <a:pt x="228" y="486"/>
                    </a:lnTo>
                    <a:lnTo>
                      <a:pt x="224" y="488"/>
                    </a:lnTo>
                    <a:lnTo>
                      <a:pt x="216" y="482"/>
                    </a:lnTo>
                    <a:lnTo>
                      <a:pt x="196" y="482"/>
                    </a:lnTo>
                    <a:lnTo>
                      <a:pt x="192" y="478"/>
                    </a:lnTo>
                    <a:lnTo>
                      <a:pt x="188" y="478"/>
                    </a:lnTo>
                    <a:lnTo>
                      <a:pt x="180" y="486"/>
                    </a:lnTo>
                    <a:lnTo>
                      <a:pt x="174" y="484"/>
                    </a:lnTo>
                    <a:lnTo>
                      <a:pt x="160" y="478"/>
                    </a:lnTo>
                    <a:lnTo>
                      <a:pt x="154" y="480"/>
                    </a:lnTo>
                    <a:lnTo>
                      <a:pt x="150" y="490"/>
                    </a:lnTo>
                    <a:lnTo>
                      <a:pt x="140" y="484"/>
                    </a:lnTo>
                    <a:lnTo>
                      <a:pt x="134" y="474"/>
                    </a:lnTo>
                    <a:lnTo>
                      <a:pt x="134" y="470"/>
                    </a:lnTo>
                    <a:lnTo>
                      <a:pt x="138" y="458"/>
                    </a:lnTo>
                    <a:lnTo>
                      <a:pt x="136" y="450"/>
                    </a:lnTo>
                    <a:lnTo>
                      <a:pt x="128" y="442"/>
                    </a:lnTo>
                    <a:lnTo>
                      <a:pt x="120" y="442"/>
                    </a:lnTo>
                    <a:lnTo>
                      <a:pt x="112" y="428"/>
                    </a:lnTo>
                    <a:lnTo>
                      <a:pt x="118" y="420"/>
                    </a:lnTo>
                    <a:lnTo>
                      <a:pt x="118" y="414"/>
                    </a:lnTo>
                    <a:lnTo>
                      <a:pt x="110" y="402"/>
                    </a:lnTo>
                    <a:lnTo>
                      <a:pt x="106" y="390"/>
                    </a:lnTo>
                    <a:lnTo>
                      <a:pt x="106" y="370"/>
                    </a:lnTo>
                    <a:lnTo>
                      <a:pt x="108" y="358"/>
                    </a:lnTo>
                    <a:lnTo>
                      <a:pt x="104" y="354"/>
                    </a:lnTo>
                    <a:lnTo>
                      <a:pt x="100" y="352"/>
                    </a:lnTo>
                    <a:lnTo>
                      <a:pt x="98" y="344"/>
                    </a:lnTo>
                    <a:lnTo>
                      <a:pt x="96" y="344"/>
                    </a:lnTo>
                    <a:lnTo>
                      <a:pt x="92" y="344"/>
                    </a:lnTo>
                    <a:lnTo>
                      <a:pt x="72" y="362"/>
                    </a:lnTo>
                    <a:lnTo>
                      <a:pt x="68" y="362"/>
                    </a:lnTo>
                    <a:lnTo>
                      <a:pt x="54" y="350"/>
                    </a:lnTo>
                    <a:lnTo>
                      <a:pt x="58" y="342"/>
                    </a:lnTo>
                    <a:lnTo>
                      <a:pt x="56" y="336"/>
                    </a:lnTo>
                    <a:lnTo>
                      <a:pt x="56" y="328"/>
                    </a:lnTo>
                    <a:lnTo>
                      <a:pt x="68" y="320"/>
                    </a:lnTo>
                    <a:lnTo>
                      <a:pt x="68" y="310"/>
                    </a:lnTo>
                    <a:lnTo>
                      <a:pt x="66" y="310"/>
                    </a:lnTo>
                    <a:lnTo>
                      <a:pt x="68" y="294"/>
                    </a:lnTo>
                    <a:lnTo>
                      <a:pt x="74" y="288"/>
                    </a:lnTo>
                    <a:lnTo>
                      <a:pt x="72" y="284"/>
                    </a:lnTo>
                    <a:lnTo>
                      <a:pt x="88" y="252"/>
                    </a:lnTo>
                    <a:lnTo>
                      <a:pt x="84" y="246"/>
                    </a:lnTo>
                    <a:lnTo>
                      <a:pt x="68" y="244"/>
                    </a:lnTo>
                    <a:lnTo>
                      <a:pt x="68" y="236"/>
                    </a:lnTo>
                    <a:lnTo>
                      <a:pt x="58" y="236"/>
                    </a:lnTo>
                    <a:lnTo>
                      <a:pt x="52" y="222"/>
                    </a:lnTo>
                    <a:lnTo>
                      <a:pt x="50" y="210"/>
                    </a:lnTo>
                    <a:lnTo>
                      <a:pt x="38" y="184"/>
                    </a:lnTo>
                    <a:lnTo>
                      <a:pt x="20" y="168"/>
                    </a:lnTo>
                    <a:lnTo>
                      <a:pt x="12" y="156"/>
                    </a:lnTo>
                    <a:lnTo>
                      <a:pt x="8" y="152"/>
                    </a:lnTo>
                    <a:lnTo>
                      <a:pt x="12" y="146"/>
                    </a:lnTo>
                    <a:lnTo>
                      <a:pt x="16" y="138"/>
                    </a:lnTo>
                    <a:lnTo>
                      <a:pt x="12" y="120"/>
                    </a:lnTo>
                    <a:lnTo>
                      <a:pt x="0" y="94"/>
                    </a:lnTo>
                    <a:lnTo>
                      <a:pt x="18" y="0"/>
                    </a:lnTo>
                    <a:lnTo>
                      <a:pt x="92" y="12"/>
                    </a:lnTo>
                    <a:lnTo>
                      <a:pt x="288" y="46"/>
                    </a:lnTo>
                    <a:lnTo>
                      <a:pt x="490" y="80"/>
                    </a:lnTo>
                    <a:lnTo>
                      <a:pt x="806" y="112"/>
                    </a:lnTo>
                    <a:lnTo>
                      <a:pt x="782" y="414"/>
                    </a:lnTo>
                    <a:lnTo>
                      <a:pt x="772" y="51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1" name="Freeform 37">
                <a:extLst>
                  <a:ext uri="{FF2B5EF4-FFF2-40B4-BE49-F238E27FC236}">
                    <a16:creationId xmlns:a16="http://schemas.microsoft.com/office/drawing/2014/main" id="{0D6B413D-02D2-405C-BAC0-220A8178FC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81" y="1195"/>
                <a:ext cx="548" cy="457"/>
              </a:xfrm>
              <a:custGeom>
                <a:avLst/>
                <a:gdLst>
                  <a:gd name="T0" fmla="*/ 516 w 548"/>
                  <a:gd name="T1" fmla="*/ 457 h 456"/>
                  <a:gd name="T2" fmla="*/ 532 w 548"/>
                  <a:gd name="T3" fmla="*/ 257 h 456"/>
                  <a:gd name="T4" fmla="*/ 548 w 548"/>
                  <a:gd name="T5" fmla="*/ 60 h 456"/>
                  <a:gd name="T6" fmla="*/ 58 w 548"/>
                  <a:gd name="T7" fmla="*/ 0 h 456"/>
                  <a:gd name="T8" fmla="*/ 50 w 548"/>
                  <a:gd name="T9" fmla="*/ 50 h 456"/>
                  <a:gd name="T10" fmla="*/ 16 w 548"/>
                  <a:gd name="T11" fmla="*/ 297 h 456"/>
                  <a:gd name="T12" fmla="*/ 14 w 548"/>
                  <a:gd name="T13" fmla="*/ 297 h 456"/>
                  <a:gd name="T14" fmla="*/ 0 w 548"/>
                  <a:gd name="T15" fmla="*/ 393 h 456"/>
                  <a:gd name="T16" fmla="*/ 146 w 548"/>
                  <a:gd name="T17" fmla="*/ 415 h 456"/>
                  <a:gd name="T18" fmla="*/ 516 w 548"/>
                  <a:gd name="T19" fmla="*/ 457 h 456"/>
                  <a:gd name="T20" fmla="*/ 516 w 548"/>
                  <a:gd name="T21" fmla="*/ 457 h 45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48" h="456">
                    <a:moveTo>
                      <a:pt x="516" y="456"/>
                    </a:moveTo>
                    <a:lnTo>
                      <a:pt x="532" y="256"/>
                    </a:lnTo>
                    <a:lnTo>
                      <a:pt x="548" y="60"/>
                    </a:lnTo>
                    <a:lnTo>
                      <a:pt x="58" y="0"/>
                    </a:lnTo>
                    <a:lnTo>
                      <a:pt x="50" y="50"/>
                    </a:lnTo>
                    <a:lnTo>
                      <a:pt x="16" y="296"/>
                    </a:lnTo>
                    <a:lnTo>
                      <a:pt x="14" y="296"/>
                    </a:lnTo>
                    <a:lnTo>
                      <a:pt x="0" y="392"/>
                    </a:lnTo>
                    <a:lnTo>
                      <a:pt x="146" y="414"/>
                    </a:lnTo>
                    <a:lnTo>
                      <a:pt x="516" y="45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2" name="Freeform 38">
                <a:extLst>
                  <a:ext uri="{FF2B5EF4-FFF2-40B4-BE49-F238E27FC236}">
                    <a16:creationId xmlns:a16="http://schemas.microsoft.com/office/drawing/2014/main" id="{AFFC1036-5C6E-4E6B-9583-59A28D8BBF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1" y="857"/>
                <a:ext cx="518" cy="324"/>
              </a:xfrm>
              <a:custGeom>
                <a:avLst/>
                <a:gdLst>
                  <a:gd name="T0" fmla="*/ 0 w 516"/>
                  <a:gd name="T1" fmla="*/ 302 h 324"/>
                  <a:gd name="T2" fmla="*/ 24 w 516"/>
                  <a:gd name="T3" fmla="*/ 0 h 324"/>
                  <a:gd name="T4" fmla="*/ 253 w 516"/>
                  <a:gd name="T5" fmla="*/ 16 h 324"/>
                  <a:gd name="T6" fmla="*/ 478 w 516"/>
                  <a:gd name="T7" fmla="*/ 22 h 324"/>
                  <a:gd name="T8" fmla="*/ 478 w 516"/>
                  <a:gd name="T9" fmla="*/ 30 h 324"/>
                  <a:gd name="T10" fmla="*/ 486 w 516"/>
                  <a:gd name="T11" fmla="*/ 54 h 324"/>
                  <a:gd name="T12" fmla="*/ 482 w 516"/>
                  <a:gd name="T13" fmla="*/ 62 h 324"/>
                  <a:gd name="T14" fmla="*/ 480 w 516"/>
                  <a:gd name="T15" fmla="*/ 78 h 324"/>
                  <a:gd name="T16" fmla="*/ 482 w 516"/>
                  <a:gd name="T17" fmla="*/ 106 h 324"/>
                  <a:gd name="T18" fmla="*/ 488 w 516"/>
                  <a:gd name="T19" fmla="*/ 138 h 324"/>
                  <a:gd name="T20" fmla="*/ 496 w 516"/>
                  <a:gd name="T21" fmla="*/ 146 h 324"/>
                  <a:gd name="T22" fmla="*/ 502 w 516"/>
                  <a:gd name="T23" fmla="*/ 176 h 324"/>
                  <a:gd name="T24" fmla="*/ 504 w 516"/>
                  <a:gd name="T25" fmla="*/ 226 h 324"/>
                  <a:gd name="T26" fmla="*/ 506 w 516"/>
                  <a:gd name="T27" fmla="*/ 236 h 324"/>
                  <a:gd name="T28" fmla="*/ 506 w 516"/>
                  <a:gd name="T29" fmla="*/ 254 h 324"/>
                  <a:gd name="T30" fmla="*/ 508 w 516"/>
                  <a:gd name="T31" fmla="*/ 260 h 324"/>
                  <a:gd name="T32" fmla="*/ 518 w 516"/>
                  <a:gd name="T33" fmla="*/ 296 h 324"/>
                  <a:gd name="T34" fmla="*/ 518 w 516"/>
                  <a:gd name="T35" fmla="*/ 310 h 324"/>
                  <a:gd name="T36" fmla="*/ 518 w 516"/>
                  <a:gd name="T37" fmla="*/ 324 h 324"/>
                  <a:gd name="T38" fmla="*/ 0 w 516"/>
                  <a:gd name="T39" fmla="*/ 302 h 32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16" h="324">
                    <a:moveTo>
                      <a:pt x="0" y="302"/>
                    </a:moveTo>
                    <a:lnTo>
                      <a:pt x="24" y="0"/>
                    </a:lnTo>
                    <a:lnTo>
                      <a:pt x="252" y="16"/>
                    </a:lnTo>
                    <a:lnTo>
                      <a:pt x="476" y="22"/>
                    </a:lnTo>
                    <a:lnTo>
                      <a:pt x="476" y="30"/>
                    </a:lnTo>
                    <a:lnTo>
                      <a:pt x="484" y="54"/>
                    </a:lnTo>
                    <a:lnTo>
                      <a:pt x="480" y="62"/>
                    </a:lnTo>
                    <a:lnTo>
                      <a:pt x="478" y="78"/>
                    </a:lnTo>
                    <a:lnTo>
                      <a:pt x="480" y="106"/>
                    </a:lnTo>
                    <a:lnTo>
                      <a:pt x="486" y="138"/>
                    </a:lnTo>
                    <a:lnTo>
                      <a:pt x="494" y="146"/>
                    </a:lnTo>
                    <a:lnTo>
                      <a:pt x="500" y="176"/>
                    </a:lnTo>
                    <a:lnTo>
                      <a:pt x="502" y="226"/>
                    </a:lnTo>
                    <a:lnTo>
                      <a:pt x="504" y="236"/>
                    </a:lnTo>
                    <a:lnTo>
                      <a:pt x="504" y="254"/>
                    </a:lnTo>
                    <a:lnTo>
                      <a:pt x="506" y="260"/>
                    </a:lnTo>
                    <a:lnTo>
                      <a:pt x="516" y="296"/>
                    </a:lnTo>
                    <a:lnTo>
                      <a:pt x="516" y="310"/>
                    </a:lnTo>
                    <a:lnTo>
                      <a:pt x="516" y="324"/>
                    </a:lnTo>
                    <a:lnTo>
                      <a:pt x="0" y="30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3" name="Freeform 39">
                <a:extLst>
                  <a:ext uri="{FF2B5EF4-FFF2-40B4-BE49-F238E27FC236}">
                    <a16:creationId xmlns:a16="http://schemas.microsoft.com/office/drawing/2014/main" id="{4FD18260-C264-45A5-B6BA-6EFCBB73CC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5" y="1160"/>
                <a:ext cx="554" cy="372"/>
              </a:xfrm>
              <a:custGeom>
                <a:avLst/>
                <a:gdLst>
                  <a:gd name="T0" fmla="*/ 0 w 552"/>
                  <a:gd name="T1" fmla="*/ 292 h 372"/>
                  <a:gd name="T2" fmla="*/ 16 w 552"/>
                  <a:gd name="T3" fmla="*/ 96 h 372"/>
                  <a:gd name="T4" fmla="*/ 26 w 552"/>
                  <a:gd name="T5" fmla="*/ 0 h 372"/>
                  <a:gd name="T6" fmla="*/ 544 w 552"/>
                  <a:gd name="T7" fmla="*/ 22 h 372"/>
                  <a:gd name="T8" fmla="*/ 544 w 552"/>
                  <a:gd name="T9" fmla="*/ 30 h 372"/>
                  <a:gd name="T10" fmla="*/ 540 w 552"/>
                  <a:gd name="T11" fmla="*/ 40 h 372"/>
                  <a:gd name="T12" fmla="*/ 526 w 552"/>
                  <a:gd name="T13" fmla="*/ 54 h 372"/>
                  <a:gd name="T14" fmla="*/ 528 w 552"/>
                  <a:gd name="T15" fmla="*/ 62 h 372"/>
                  <a:gd name="T16" fmla="*/ 554 w 552"/>
                  <a:gd name="T17" fmla="*/ 86 h 372"/>
                  <a:gd name="T18" fmla="*/ 554 w 552"/>
                  <a:gd name="T19" fmla="*/ 268 h 372"/>
                  <a:gd name="T20" fmla="*/ 548 w 552"/>
                  <a:gd name="T21" fmla="*/ 266 h 372"/>
                  <a:gd name="T22" fmla="*/ 542 w 552"/>
                  <a:gd name="T23" fmla="*/ 268 h 372"/>
                  <a:gd name="T24" fmla="*/ 546 w 552"/>
                  <a:gd name="T25" fmla="*/ 274 h 372"/>
                  <a:gd name="T26" fmla="*/ 548 w 552"/>
                  <a:gd name="T27" fmla="*/ 280 h 372"/>
                  <a:gd name="T28" fmla="*/ 544 w 552"/>
                  <a:gd name="T29" fmla="*/ 290 h 372"/>
                  <a:gd name="T30" fmla="*/ 550 w 552"/>
                  <a:gd name="T31" fmla="*/ 294 h 372"/>
                  <a:gd name="T32" fmla="*/ 554 w 552"/>
                  <a:gd name="T33" fmla="*/ 310 h 372"/>
                  <a:gd name="T34" fmla="*/ 548 w 552"/>
                  <a:gd name="T35" fmla="*/ 314 h 372"/>
                  <a:gd name="T36" fmla="*/ 548 w 552"/>
                  <a:gd name="T37" fmla="*/ 324 h 372"/>
                  <a:gd name="T38" fmla="*/ 542 w 552"/>
                  <a:gd name="T39" fmla="*/ 340 h 372"/>
                  <a:gd name="T40" fmla="*/ 548 w 552"/>
                  <a:gd name="T41" fmla="*/ 358 h 372"/>
                  <a:gd name="T42" fmla="*/ 552 w 552"/>
                  <a:gd name="T43" fmla="*/ 368 h 372"/>
                  <a:gd name="T44" fmla="*/ 550 w 552"/>
                  <a:gd name="T45" fmla="*/ 372 h 372"/>
                  <a:gd name="T46" fmla="*/ 536 w 552"/>
                  <a:gd name="T47" fmla="*/ 360 h 372"/>
                  <a:gd name="T48" fmla="*/ 504 w 552"/>
                  <a:gd name="T49" fmla="*/ 340 h 372"/>
                  <a:gd name="T50" fmla="*/ 496 w 552"/>
                  <a:gd name="T51" fmla="*/ 338 h 372"/>
                  <a:gd name="T52" fmla="*/ 482 w 552"/>
                  <a:gd name="T53" fmla="*/ 338 h 372"/>
                  <a:gd name="T54" fmla="*/ 472 w 552"/>
                  <a:gd name="T55" fmla="*/ 344 h 372"/>
                  <a:gd name="T56" fmla="*/ 462 w 552"/>
                  <a:gd name="T57" fmla="*/ 348 h 372"/>
                  <a:gd name="T58" fmla="*/ 450 w 552"/>
                  <a:gd name="T59" fmla="*/ 344 h 372"/>
                  <a:gd name="T60" fmla="*/ 446 w 552"/>
                  <a:gd name="T61" fmla="*/ 332 h 372"/>
                  <a:gd name="T62" fmla="*/ 438 w 552"/>
                  <a:gd name="T63" fmla="*/ 326 h 372"/>
                  <a:gd name="T64" fmla="*/ 428 w 552"/>
                  <a:gd name="T65" fmla="*/ 330 h 372"/>
                  <a:gd name="T66" fmla="*/ 413 w 552"/>
                  <a:gd name="T67" fmla="*/ 330 h 372"/>
                  <a:gd name="T68" fmla="*/ 403 w 552"/>
                  <a:gd name="T69" fmla="*/ 314 h 372"/>
                  <a:gd name="T70" fmla="*/ 0 w 552"/>
                  <a:gd name="T71" fmla="*/ 292 h 37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552" h="372">
                    <a:moveTo>
                      <a:pt x="0" y="292"/>
                    </a:moveTo>
                    <a:lnTo>
                      <a:pt x="16" y="96"/>
                    </a:lnTo>
                    <a:lnTo>
                      <a:pt x="26" y="0"/>
                    </a:lnTo>
                    <a:lnTo>
                      <a:pt x="542" y="22"/>
                    </a:lnTo>
                    <a:lnTo>
                      <a:pt x="542" y="30"/>
                    </a:lnTo>
                    <a:lnTo>
                      <a:pt x="538" y="40"/>
                    </a:lnTo>
                    <a:lnTo>
                      <a:pt x="524" y="54"/>
                    </a:lnTo>
                    <a:lnTo>
                      <a:pt x="526" y="62"/>
                    </a:lnTo>
                    <a:lnTo>
                      <a:pt x="552" y="86"/>
                    </a:lnTo>
                    <a:lnTo>
                      <a:pt x="552" y="268"/>
                    </a:lnTo>
                    <a:lnTo>
                      <a:pt x="546" y="266"/>
                    </a:lnTo>
                    <a:lnTo>
                      <a:pt x="540" y="268"/>
                    </a:lnTo>
                    <a:lnTo>
                      <a:pt x="544" y="274"/>
                    </a:lnTo>
                    <a:lnTo>
                      <a:pt x="546" y="280"/>
                    </a:lnTo>
                    <a:lnTo>
                      <a:pt x="542" y="290"/>
                    </a:lnTo>
                    <a:lnTo>
                      <a:pt x="548" y="294"/>
                    </a:lnTo>
                    <a:lnTo>
                      <a:pt x="552" y="310"/>
                    </a:lnTo>
                    <a:lnTo>
                      <a:pt x="546" y="314"/>
                    </a:lnTo>
                    <a:lnTo>
                      <a:pt x="546" y="324"/>
                    </a:lnTo>
                    <a:lnTo>
                      <a:pt x="540" y="340"/>
                    </a:lnTo>
                    <a:lnTo>
                      <a:pt x="546" y="358"/>
                    </a:lnTo>
                    <a:lnTo>
                      <a:pt x="550" y="368"/>
                    </a:lnTo>
                    <a:lnTo>
                      <a:pt x="548" y="372"/>
                    </a:lnTo>
                    <a:lnTo>
                      <a:pt x="534" y="360"/>
                    </a:lnTo>
                    <a:lnTo>
                      <a:pt x="502" y="340"/>
                    </a:lnTo>
                    <a:lnTo>
                      <a:pt x="494" y="338"/>
                    </a:lnTo>
                    <a:lnTo>
                      <a:pt x="480" y="338"/>
                    </a:lnTo>
                    <a:lnTo>
                      <a:pt x="470" y="344"/>
                    </a:lnTo>
                    <a:lnTo>
                      <a:pt x="460" y="348"/>
                    </a:lnTo>
                    <a:lnTo>
                      <a:pt x="448" y="344"/>
                    </a:lnTo>
                    <a:lnTo>
                      <a:pt x="444" y="332"/>
                    </a:lnTo>
                    <a:lnTo>
                      <a:pt x="436" y="326"/>
                    </a:lnTo>
                    <a:lnTo>
                      <a:pt x="426" y="330"/>
                    </a:lnTo>
                    <a:lnTo>
                      <a:pt x="412" y="330"/>
                    </a:lnTo>
                    <a:lnTo>
                      <a:pt x="402" y="314"/>
                    </a:lnTo>
                    <a:lnTo>
                      <a:pt x="0" y="29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4" name="Freeform 40">
                <a:extLst>
                  <a:ext uri="{FF2B5EF4-FFF2-40B4-BE49-F238E27FC236}">
                    <a16:creationId xmlns:a16="http://schemas.microsoft.com/office/drawing/2014/main" id="{46847A3C-C54C-4550-93BD-AB79BDFD42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6" y="1070"/>
                <a:ext cx="419" cy="446"/>
              </a:xfrm>
              <a:custGeom>
                <a:avLst/>
                <a:gdLst>
                  <a:gd name="T0" fmla="*/ 175 w 416"/>
                  <a:gd name="T1" fmla="*/ 436 h 442"/>
                  <a:gd name="T2" fmla="*/ 145 w 416"/>
                  <a:gd name="T3" fmla="*/ 422 h 442"/>
                  <a:gd name="T4" fmla="*/ 135 w 416"/>
                  <a:gd name="T5" fmla="*/ 381 h 442"/>
                  <a:gd name="T6" fmla="*/ 141 w 416"/>
                  <a:gd name="T7" fmla="*/ 365 h 442"/>
                  <a:gd name="T8" fmla="*/ 127 w 416"/>
                  <a:gd name="T9" fmla="*/ 347 h 442"/>
                  <a:gd name="T10" fmla="*/ 125 w 416"/>
                  <a:gd name="T11" fmla="*/ 315 h 442"/>
                  <a:gd name="T12" fmla="*/ 101 w 416"/>
                  <a:gd name="T13" fmla="*/ 295 h 442"/>
                  <a:gd name="T14" fmla="*/ 73 w 416"/>
                  <a:gd name="T15" fmla="*/ 264 h 442"/>
                  <a:gd name="T16" fmla="*/ 46 w 416"/>
                  <a:gd name="T17" fmla="*/ 250 h 442"/>
                  <a:gd name="T18" fmla="*/ 42 w 416"/>
                  <a:gd name="T19" fmla="*/ 244 h 442"/>
                  <a:gd name="T20" fmla="*/ 22 w 416"/>
                  <a:gd name="T21" fmla="*/ 236 h 442"/>
                  <a:gd name="T22" fmla="*/ 10 w 416"/>
                  <a:gd name="T23" fmla="*/ 224 h 442"/>
                  <a:gd name="T24" fmla="*/ 14 w 416"/>
                  <a:gd name="T25" fmla="*/ 182 h 442"/>
                  <a:gd name="T26" fmla="*/ 18 w 416"/>
                  <a:gd name="T27" fmla="*/ 161 h 442"/>
                  <a:gd name="T28" fmla="*/ 0 w 416"/>
                  <a:gd name="T29" fmla="*/ 143 h 442"/>
                  <a:gd name="T30" fmla="*/ 8 w 416"/>
                  <a:gd name="T31" fmla="*/ 125 h 442"/>
                  <a:gd name="T32" fmla="*/ 28 w 416"/>
                  <a:gd name="T33" fmla="*/ 99 h 442"/>
                  <a:gd name="T34" fmla="*/ 40 w 416"/>
                  <a:gd name="T35" fmla="*/ 91 h 442"/>
                  <a:gd name="T36" fmla="*/ 44 w 416"/>
                  <a:gd name="T37" fmla="*/ 32 h 442"/>
                  <a:gd name="T38" fmla="*/ 56 w 416"/>
                  <a:gd name="T39" fmla="*/ 28 h 442"/>
                  <a:gd name="T40" fmla="*/ 79 w 416"/>
                  <a:gd name="T41" fmla="*/ 30 h 442"/>
                  <a:gd name="T42" fmla="*/ 131 w 416"/>
                  <a:gd name="T43" fmla="*/ 0 h 442"/>
                  <a:gd name="T44" fmla="*/ 141 w 416"/>
                  <a:gd name="T45" fmla="*/ 2 h 442"/>
                  <a:gd name="T46" fmla="*/ 137 w 416"/>
                  <a:gd name="T47" fmla="*/ 16 h 442"/>
                  <a:gd name="T48" fmla="*/ 133 w 416"/>
                  <a:gd name="T49" fmla="*/ 34 h 442"/>
                  <a:gd name="T50" fmla="*/ 153 w 416"/>
                  <a:gd name="T51" fmla="*/ 28 h 442"/>
                  <a:gd name="T52" fmla="*/ 169 w 416"/>
                  <a:gd name="T53" fmla="*/ 34 h 442"/>
                  <a:gd name="T54" fmla="*/ 183 w 416"/>
                  <a:gd name="T55" fmla="*/ 42 h 442"/>
                  <a:gd name="T56" fmla="*/ 191 w 416"/>
                  <a:gd name="T57" fmla="*/ 57 h 442"/>
                  <a:gd name="T58" fmla="*/ 262 w 416"/>
                  <a:gd name="T59" fmla="*/ 73 h 442"/>
                  <a:gd name="T60" fmla="*/ 284 w 416"/>
                  <a:gd name="T61" fmla="*/ 85 h 442"/>
                  <a:gd name="T62" fmla="*/ 296 w 416"/>
                  <a:gd name="T63" fmla="*/ 89 h 442"/>
                  <a:gd name="T64" fmla="*/ 304 w 416"/>
                  <a:gd name="T65" fmla="*/ 85 h 442"/>
                  <a:gd name="T66" fmla="*/ 330 w 416"/>
                  <a:gd name="T67" fmla="*/ 91 h 442"/>
                  <a:gd name="T68" fmla="*/ 332 w 416"/>
                  <a:gd name="T69" fmla="*/ 97 h 442"/>
                  <a:gd name="T70" fmla="*/ 342 w 416"/>
                  <a:gd name="T71" fmla="*/ 103 h 442"/>
                  <a:gd name="T72" fmla="*/ 359 w 416"/>
                  <a:gd name="T73" fmla="*/ 119 h 442"/>
                  <a:gd name="T74" fmla="*/ 357 w 416"/>
                  <a:gd name="T75" fmla="*/ 145 h 442"/>
                  <a:gd name="T76" fmla="*/ 371 w 416"/>
                  <a:gd name="T77" fmla="*/ 143 h 442"/>
                  <a:gd name="T78" fmla="*/ 365 w 416"/>
                  <a:gd name="T79" fmla="*/ 153 h 442"/>
                  <a:gd name="T80" fmla="*/ 379 w 416"/>
                  <a:gd name="T81" fmla="*/ 172 h 442"/>
                  <a:gd name="T82" fmla="*/ 363 w 416"/>
                  <a:gd name="T83" fmla="*/ 190 h 442"/>
                  <a:gd name="T84" fmla="*/ 351 w 416"/>
                  <a:gd name="T85" fmla="*/ 220 h 442"/>
                  <a:gd name="T86" fmla="*/ 353 w 416"/>
                  <a:gd name="T87" fmla="*/ 230 h 442"/>
                  <a:gd name="T88" fmla="*/ 375 w 416"/>
                  <a:gd name="T89" fmla="*/ 202 h 442"/>
                  <a:gd name="T90" fmla="*/ 393 w 416"/>
                  <a:gd name="T91" fmla="*/ 190 h 442"/>
                  <a:gd name="T92" fmla="*/ 401 w 416"/>
                  <a:gd name="T93" fmla="*/ 178 h 442"/>
                  <a:gd name="T94" fmla="*/ 403 w 416"/>
                  <a:gd name="T95" fmla="*/ 163 h 442"/>
                  <a:gd name="T96" fmla="*/ 407 w 416"/>
                  <a:gd name="T97" fmla="*/ 155 h 442"/>
                  <a:gd name="T98" fmla="*/ 413 w 416"/>
                  <a:gd name="T99" fmla="*/ 147 h 442"/>
                  <a:gd name="T100" fmla="*/ 419 w 416"/>
                  <a:gd name="T101" fmla="*/ 151 h 442"/>
                  <a:gd name="T102" fmla="*/ 407 w 416"/>
                  <a:gd name="T103" fmla="*/ 190 h 442"/>
                  <a:gd name="T104" fmla="*/ 399 w 416"/>
                  <a:gd name="T105" fmla="*/ 204 h 442"/>
                  <a:gd name="T106" fmla="*/ 391 w 416"/>
                  <a:gd name="T107" fmla="*/ 230 h 442"/>
                  <a:gd name="T108" fmla="*/ 389 w 416"/>
                  <a:gd name="T109" fmla="*/ 260 h 442"/>
                  <a:gd name="T110" fmla="*/ 379 w 416"/>
                  <a:gd name="T111" fmla="*/ 276 h 442"/>
                  <a:gd name="T112" fmla="*/ 383 w 416"/>
                  <a:gd name="T113" fmla="*/ 315 h 442"/>
                  <a:gd name="T114" fmla="*/ 371 w 416"/>
                  <a:gd name="T115" fmla="*/ 345 h 442"/>
                  <a:gd name="T116" fmla="*/ 385 w 416"/>
                  <a:gd name="T117" fmla="*/ 408 h 442"/>
                  <a:gd name="T118" fmla="*/ 385 w 416"/>
                  <a:gd name="T119" fmla="*/ 416 h 442"/>
                  <a:gd name="T120" fmla="*/ 385 w 416"/>
                  <a:gd name="T121" fmla="*/ 432 h 4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416" h="442">
                    <a:moveTo>
                      <a:pt x="176" y="442"/>
                    </a:moveTo>
                    <a:lnTo>
                      <a:pt x="174" y="432"/>
                    </a:lnTo>
                    <a:lnTo>
                      <a:pt x="166" y="426"/>
                    </a:lnTo>
                    <a:lnTo>
                      <a:pt x="144" y="418"/>
                    </a:lnTo>
                    <a:lnTo>
                      <a:pt x="138" y="390"/>
                    </a:lnTo>
                    <a:lnTo>
                      <a:pt x="134" y="378"/>
                    </a:lnTo>
                    <a:lnTo>
                      <a:pt x="138" y="370"/>
                    </a:lnTo>
                    <a:lnTo>
                      <a:pt x="140" y="362"/>
                    </a:lnTo>
                    <a:lnTo>
                      <a:pt x="132" y="356"/>
                    </a:lnTo>
                    <a:lnTo>
                      <a:pt x="126" y="344"/>
                    </a:lnTo>
                    <a:lnTo>
                      <a:pt x="124" y="324"/>
                    </a:lnTo>
                    <a:lnTo>
                      <a:pt x="124" y="312"/>
                    </a:lnTo>
                    <a:lnTo>
                      <a:pt x="122" y="306"/>
                    </a:lnTo>
                    <a:lnTo>
                      <a:pt x="100" y="292"/>
                    </a:lnTo>
                    <a:lnTo>
                      <a:pt x="80" y="276"/>
                    </a:lnTo>
                    <a:lnTo>
                      <a:pt x="72" y="262"/>
                    </a:lnTo>
                    <a:lnTo>
                      <a:pt x="52" y="252"/>
                    </a:lnTo>
                    <a:lnTo>
                      <a:pt x="46" y="248"/>
                    </a:lnTo>
                    <a:lnTo>
                      <a:pt x="46" y="244"/>
                    </a:lnTo>
                    <a:lnTo>
                      <a:pt x="42" y="242"/>
                    </a:lnTo>
                    <a:lnTo>
                      <a:pt x="24" y="238"/>
                    </a:lnTo>
                    <a:lnTo>
                      <a:pt x="22" y="234"/>
                    </a:lnTo>
                    <a:lnTo>
                      <a:pt x="14" y="228"/>
                    </a:lnTo>
                    <a:lnTo>
                      <a:pt x="10" y="222"/>
                    </a:lnTo>
                    <a:lnTo>
                      <a:pt x="10" y="198"/>
                    </a:lnTo>
                    <a:lnTo>
                      <a:pt x="14" y="180"/>
                    </a:lnTo>
                    <a:lnTo>
                      <a:pt x="12" y="170"/>
                    </a:lnTo>
                    <a:lnTo>
                      <a:pt x="18" y="160"/>
                    </a:lnTo>
                    <a:lnTo>
                      <a:pt x="10" y="146"/>
                    </a:lnTo>
                    <a:lnTo>
                      <a:pt x="0" y="142"/>
                    </a:lnTo>
                    <a:lnTo>
                      <a:pt x="6" y="126"/>
                    </a:lnTo>
                    <a:lnTo>
                      <a:pt x="8" y="124"/>
                    </a:lnTo>
                    <a:lnTo>
                      <a:pt x="8" y="114"/>
                    </a:lnTo>
                    <a:lnTo>
                      <a:pt x="28" y="98"/>
                    </a:lnTo>
                    <a:lnTo>
                      <a:pt x="36" y="96"/>
                    </a:lnTo>
                    <a:lnTo>
                      <a:pt x="40" y="90"/>
                    </a:lnTo>
                    <a:lnTo>
                      <a:pt x="38" y="36"/>
                    </a:lnTo>
                    <a:lnTo>
                      <a:pt x="44" y="32"/>
                    </a:lnTo>
                    <a:lnTo>
                      <a:pt x="48" y="24"/>
                    </a:lnTo>
                    <a:lnTo>
                      <a:pt x="56" y="28"/>
                    </a:lnTo>
                    <a:lnTo>
                      <a:pt x="66" y="30"/>
                    </a:lnTo>
                    <a:lnTo>
                      <a:pt x="78" y="30"/>
                    </a:lnTo>
                    <a:lnTo>
                      <a:pt x="96" y="18"/>
                    </a:lnTo>
                    <a:lnTo>
                      <a:pt x="130" y="0"/>
                    </a:lnTo>
                    <a:lnTo>
                      <a:pt x="138" y="0"/>
                    </a:lnTo>
                    <a:lnTo>
                      <a:pt x="140" y="2"/>
                    </a:lnTo>
                    <a:lnTo>
                      <a:pt x="140" y="10"/>
                    </a:lnTo>
                    <a:lnTo>
                      <a:pt x="136" y="16"/>
                    </a:lnTo>
                    <a:lnTo>
                      <a:pt x="136" y="20"/>
                    </a:lnTo>
                    <a:lnTo>
                      <a:pt x="132" y="34"/>
                    </a:lnTo>
                    <a:lnTo>
                      <a:pt x="146" y="28"/>
                    </a:lnTo>
                    <a:lnTo>
                      <a:pt x="152" y="28"/>
                    </a:lnTo>
                    <a:lnTo>
                      <a:pt x="160" y="36"/>
                    </a:lnTo>
                    <a:lnTo>
                      <a:pt x="168" y="34"/>
                    </a:lnTo>
                    <a:lnTo>
                      <a:pt x="172" y="40"/>
                    </a:lnTo>
                    <a:lnTo>
                      <a:pt x="182" y="42"/>
                    </a:lnTo>
                    <a:lnTo>
                      <a:pt x="188" y="46"/>
                    </a:lnTo>
                    <a:lnTo>
                      <a:pt x="190" y="56"/>
                    </a:lnTo>
                    <a:lnTo>
                      <a:pt x="196" y="60"/>
                    </a:lnTo>
                    <a:lnTo>
                      <a:pt x="260" y="72"/>
                    </a:lnTo>
                    <a:lnTo>
                      <a:pt x="268" y="72"/>
                    </a:lnTo>
                    <a:lnTo>
                      <a:pt x="282" y="84"/>
                    </a:lnTo>
                    <a:lnTo>
                      <a:pt x="292" y="84"/>
                    </a:lnTo>
                    <a:lnTo>
                      <a:pt x="294" y="88"/>
                    </a:lnTo>
                    <a:lnTo>
                      <a:pt x="298" y="84"/>
                    </a:lnTo>
                    <a:lnTo>
                      <a:pt x="302" y="84"/>
                    </a:lnTo>
                    <a:lnTo>
                      <a:pt x="318" y="86"/>
                    </a:lnTo>
                    <a:lnTo>
                      <a:pt x="328" y="90"/>
                    </a:lnTo>
                    <a:lnTo>
                      <a:pt x="334" y="94"/>
                    </a:lnTo>
                    <a:lnTo>
                      <a:pt x="330" y="96"/>
                    </a:lnTo>
                    <a:lnTo>
                      <a:pt x="330" y="100"/>
                    </a:lnTo>
                    <a:lnTo>
                      <a:pt x="340" y="102"/>
                    </a:lnTo>
                    <a:lnTo>
                      <a:pt x="354" y="110"/>
                    </a:lnTo>
                    <a:lnTo>
                      <a:pt x="356" y="118"/>
                    </a:lnTo>
                    <a:lnTo>
                      <a:pt x="352" y="142"/>
                    </a:lnTo>
                    <a:lnTo>
                      <a:pt x="354" y="144"/>
                    </a:lnTo>
                    <a:lnTo>
                      <a:pt x="366" y="142"/>
                    </a:lnTo>
                    <a:lnTo>
                      <a:pt x="368" y="142"/>
                    </a:lnTo>
                    <a:lnTo>
                      <a:pt x="366" y="148"/>
                    </a:lnTo>
                    <a:lnTo>
                      <a:pt x="362" y="152"/>
                    </a:lnTo>
                    <a:lnTo>
                      <a:pt x="366" y="164"/>
                    </a:lnTo>
                    <a:lnTo>
                      <a:pt x="376" y="170"/>
                    </a:lnTo>
                    <a:lnTo>
                      <a:pt x="374" y="172"/>
                    </a:lnTo>
                    <a:lnTo>
                      <a:pt x="360" y="188"/>
                    </a:lnTo>
                    <a:lnTo>
                      <a:pt x="352" y="206"/>
                    </a:lnTo>
                    <a:lnTo>
                      <a:pt x="348" y="218"/>
                    </a:lnTo>
                    <a:lnTo>
                      <a:pt x="346" y="224"/>
                    </a:lnTo>
                    <a:lnTo>
                      <a:pt x="350" y="228"/>
                    </a:lnTo>
                    <a:lnTo>
                      <a:pt x="360" y="222"/>
                    </a:lnTo>
                    <a:lnTo>
                      <a:pt x="372" y="200"/>
                    </a:lnTo>
                    <a:lnTo>
                      <a:pt x="384" y="190"/>
                    </a:lnTo>
                    <a:lnTo>
                      <a:pt x="390" y="188"/>
                    </a:lnTo>
                    <a:lnTo>
                      <a:pt x="392" y="182"/>
                    </a:lnTo>
                    <a:lnTo>
                      <a:pt x="398" y="176"/>
                    </a:lnTo>
                    <a:lnTo>
                      <a:pt x="400" y="170"/>
                    </a:lnTo>
                    <a:lnTo>
                      <a:pt x="400" y="162"/>
                    </a:lnTo>
                    <a:lnTo>
                      <a:pt x="400" y="158"/>
                    </a:lnTo>
                    <a:lnTo>
                      <a:pt x="404" y="154"/>
                    </a:lnTo>
                    <a:lnTo>
                      <a:pt x="406" y="148"/>
                    </a:lnTo>
                    <a:lnTo>
                      <a:pt x="410" y="146"/>
                    </a:lnTo>
                    <a:lnTo>
                      <a:pt x="414" y="146"/>
                    </a:lnTo>
                    <a:lnTo>
                      <a:pt x="416" y="150"/>
                    </a:lnTo>
                    <a:lnTo>
                      <a:pt x="414" y="162"/>
                    </a:lnTo>
                    <a:lnTo>
                      <a:pt x="404" y="188"/>
                    </a:lnTo>
                    <a:lnTo>
                      <a:pt x="400" y="194"/>
                    </a:lnTo>
                    <a:lnTo>
                      <a:pt x="396" y="202"/>
                    </a:lnTo>
                    <a:lnTo>
                      <a:pt x="396" y="208"/>
                    </a:lnTo>
                    <a:lnTo>
                      <a:pt x="388" y="228"/>
                    </a:lnTo>
                    <a:lnTo>
                      <a:pt x="388" y="246"/>
                    </a:lnTo>
                    <a:lnTo>
                      <a:pt x="386" y="258"/>
                    </a:lnTo>
                    <a:lnTo>
                      <a:pt x="378" y="268"/>
                    </a:lnTo>
                    <a:lnTo>
                      <a:pt x="376" y="274"/>
                    </a:lnTo>
                    <a:lnTo>
                      <a:pt x="378" y="288"/>
                    </a:lnTo>
                    <a:lnTo>
                      <a:pt x="380" y="312"/>
                    </a:lnTo>
                    <a:lnTo>
                      <a:pt x="376" y="316"/>
                    </a:lnTo>
                    <a:lnTo>
                      <a:pt x="368" y="342"/>
                    </a:lnTo>
                    <a:lnTo>
                      <a:pt x="372" y="378"/>
                    </a:lnTo>
                    <a:lnTo>
                      <a:pt x="382" y="404"/>
                    </a:lnTo>
                    <a:lnTo>
                      <a:pt x="380" y="408"/>
                    </a:lnTo>
                    <a:lnTo>
                      <a:pt x="382" y="412"/>
                    </a:lnTo>
                    <a:lnTo>
                      <a:pt x="380" y="418"/>
                    </a:lnTo>
                    <a:lnTo>
                      <a:pt x="382" y="428"/>
                    </a:lnTo>
                    <a:lnTo>
                      <a:pt x="176" y="44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" name="Freeform 41">
                <a:extLst>
                  <a:ext uri="{FF2B5EF4-FFF2-40B4-BE49-F238E27FC236}">
                    <a16:creationId xmlns:a16="http://schemas.microsoft.com/office/drawing/2014/main" id="{EB5AFB76-789E-4E9A-AC6D-8181402C06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30" y="1946"/>
                <a:ext cx="543" cy="626"/>
              </a:xfrm>
              <a:custGeom>
                <a:avLst/>
                <a:gdLst>
                  <a:gd name="T0" fmla="*/ 462 w 538"/>
                  <a:gd name="T1" fmla="*/ 626 h 622"/>
                  <a:gd name="T2" fmla="*/ 543 w 538"/>
                  <a:gd name="T3" fmla="*/ 62 h 622"/>
                  <a:gd name="T4" fmla="*/ 147 w 538"/>
                  <a:gd name="T5" fmla="*/ 0 h 622"/>
                  <a:gd name="T6" fmla="*/ 147 w 538"/>
                  <a:gd name="T7" fmla="*/ 0 h 622"/>
                  <a:gd name="T8" fmla="*/ 139 w 538"/>
                  <a:gd name="T9" fmla="*/ 52 h 622"/>
                  <a:gd name="T10" fmla="*/ 123 w 538"/>
                  <a:gd name="T11" fmla="*/ 95 h 622"/>
                  <a:gd name="T12" fmla="*/ 115 w 538"/>
                  <a:gd name="T13" fmla="*/ 95 h 622"/>
                  <a:gd name="T14" fmla="*/ 109 w 538"/>
                  <a:gd name="T15" fmla="*/ 89 h 622"/>
                  <a:gd name="T16" fmla="*/ 109 w 538"/>
                  <a:gd name="T17" fmla="*/ 85 h 622"/>
                  <a:gd name="T18" fmla="*/ 105 w 538"/>
                  <a:gd name="T19" fmla="*/ 79 h 622"/>
                  <a:gd name="T20" fmla="*/ 89 w 538"/>
                  <a:gd name="T21" fmla="*/ 74 h 622"/>
                  <a:gd name="T22" fmla="*/ 77 w 538"/>
                  <a:gd name="T23" fmla="*/ 76 h 622"/>
                  <a:gd name="T24" fmla="*/ 73 w 538"/>
                  <a:gd name="T25" fmla="*/ 83 h 622"/>
                  <a:gd name="T26" fmla="*/ 77 w 538"/>
                  <a:gd name="T27" fmla="*/ 101 h 622"/>
                  <a:gd name="T28" fmla="*/ 71 w 538"/>
                  <a:gd name="T29" fmla="*/ 147 h 622"/>
                  <a:gd name="T30" fmla="*/ 75 w 538"/>
                  <a:gd name="T31" fmla="*/ 155 h 622"/>
                  <a:gd name="T32" fmla="*/ 69 w 538"/>
                  <a:gd name="T33" fmla="*/ 175 h 622"/>
                  <a:gd name="T34" fmla="*/ 65 w 538"/>
                  <a:gd name="T35" fmla="*/ 183 h 622"/>
                  <a:gd name="T36" fmla="*/ 65 w 538"/>
                  <a:gd name="T37" fmla="*/ 187 h 622"/>
                  <a:gd name="T38" fmla="*/ 65 w 538"/>
                  <a:gd name="T39" fmla="*/ 201 h 622"/>
                  <a:gd name="T40" fmla="*/ 67 w 538"/>
                  <a:gd name="T41" fmla="*/ 207 h 622"/>
                  <a:gd name="T42" fmla="*/ 65 w 538"/>
                  <a:gd name="T43" fmla="*/ 211 h 622"/>
                  <a:gd name="T44" fmla="*/ 71 w 538"/>
                  <a:gd name="T45" fmla="*/ 223 h 622"/>
                  <a:gd name="T46" fmla="*/ 71 w 538"/>
                  <a:gd name="T47" fmla="*/ 233 h 622"/>
                  <a:gd name="T48" fmla="*/ 75 w 538"/>
                  <a:gd name="T49" fmla="*/ 240 h 622"/>
                  <a:gd name="T50" fmla="*/ 77 w 538"/>
                  <a:gd name="T51" fmla="*/ 252 h 622"/>
                  <a:gd name="T52" fmla="*/ 83 w 538"/>
                  <a:gd name="T53" fmla="*/ 256 h 622"/>
                  <a:gd name="T54" fmla="*/ 87 w 538"/>
                  <a:gd name="T55" fmla="*/ 262 h 622"/>
                  <a:gd name="T56" fmla="*/ 89 w 538"/>
                  <a:gd name="T57" fmla="*/ 270 h 622"/>
                  <a:gd name="T58" fmla="*/ 87 w 538"/>
                  <a:gd name="T59" fmla="*/ 274 h 622"/>
                  <a:gd name="T60" fmla="*/ 85 w 538"/>
                  <a:gd name="T61" fmla="*/ 272 h 622"/>
                  <a:gd name="T62" fmla="*/ 75 w 538"/>
                  <a:gd name="T63" fmla="*/ 280 h 622"/>
                  <a:gd name="T64" fmla="*/ 63 w 538"/>
                  <a:gd name="T65" fmla="*/ 284 h 622"/>
                  <a:gd name="T66" fmla="*/ 52 w 538"/>
                  <a:gd name="T67" fmla="*/ 296 h 622"/>
                  <a:gd name="T68" fmla="*/ 46 w 538"/>
                  <a:gd name="T69" fmla="*/ 322 h 622"/>
                  <a:gd name="T70" fmla="*/ 30 w 538"/>
                  <a:gd name="T71" fmla="*/ 342 h 622"/>
                  <a:gd name="T72" fmla="*/ 22 w 538"/>
                  <a:gd name="T73" fmla="*/ 342 h 622"/>
                  <a:gd name="T74" fmla="*/ 22 w 538"/>
                  <a:gd name="T75" fmla="*/ 348 h 622"/>
                  <a:gd name="T76" fmla="*/ 24 w 538"/>
                  <a:gd name="T77" fmla="*/ 356 h 622"/>
                  <a:gd name="T78" fmla="*/ 24 w 538"/>
                  <a:gd name="T79" fmla="*/ 362 h 622"/>
                  <a:gd name="T80" fmla="*/ 20 w 538"/>
                  <a:gd name="T81" fmla="*/ 374 h 622"/>
                  <a:gd name="T82" fmla="*/ 22 w 538"/>
                  <a:gd name="T83" fmla="*/ 380 h 622"/>
                  <a:gd name="T84" fmla="*/ 34 w 538"/>
                  <a:gd name="T85" fmla="*/ 388 h 622"/>
                  <a:gd name="T86" fmla="*/ 36 w 538"/>
                  <a:gd name="T87" fmla="*/ 395 h 622"/>
                  <a:gd name="T88" fmla="*/ 32 w 538"/>
                  <a:gd name="T89" fmla="*/ 399 h 622"/>
                  <a:gd name="T90" fmla="*/ 30 w 538"/>
                  <a:gd name="T91" fmla="*/ 405 h 622"/>
                  <a:gd name="T92" fmla="*/ 24 w 538"/>
                  <a:gd name="T93" fmla="*/ 413 h 622"/>
                  <a:gd name="T94" fmla="*/ 20 w 538"/>
                  <a:gd name="T95" fmla="*/ 411 h 622"/>
                  <a:gd name="T96" fmla="*/ 6 w 538"/>
                  <a:gd name="T97" fmla="*/ 409 h 622"/>
                  <a:gd name="T98" fmla="*/ 0 w 538"/>
                  <a:gd name="T99" fmla="*/ 433 h 622"/>
                  <a:gd name="T100" fmla="*/ 293 w 538"/>
                  <a:gd name="T101" fmla="*/ 600 h 622"/>
                  <a:gd name="T102" fmla="*/ 462 w 538"/>
                  <a:gd name="T103" fmla="*/ 626 h 622"/>
                  <a:gd name="T104" fmla="*/ 462 w 538"/>
                  <a:gd name="T105" fmla="*/ 626 h 62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38" h="622">
                    <a:moveTo>
                      <a:pt x="458" y="622"/>
                    </a:moveTo>
                    <a:lnTo>
                      <a:pt x="538" y="62"/>
                    </a:lnTo>
                    <a:lnTo>
                      <a:pt x="146" y="0"/>
                    </a:lnTo>
                    <a:lnTo>
                      <a:pt x="138" y="52"/>
                    </a:lnTo>
                    <a:lnTo>
                      <a:pt x="122" y="94"/>
                    </a:lnTo>
                    <a:lnTo>
                      <a:pt x="114" y="94"/>
                    </a:lnTo>
                    <a:lnTo>
                      <a:pt x="108" y="88"/>
                    </a:lnTo>
                    <a:lnTo>
                      <a:pt x="108" y="84"/>
                    </a:lnTo>
                    <a:lnTo>
                      <a:pt x="104" y="78"/>
                    </a:lnTo>
                    <a:lnTo>
                      <a:pt x="88" y="74"/>
                    </a:lnTo>
                    <a:lnTo>
                      <a:pt x="76" y="76"/>
                    </a:lnTo>
                    <a:lnTo>
                      <a:pt x="72" y="82"/>
                    </a:lnTo>
                    <a:lnTo>
                      <a:pt x="76" y="100"/>
                    </a:lnTo>
                    <a:lnTo>
                      <a:pt x="70" y="146"/>
                    </a:lnTo>
                    <a:lnTo>
                      <a:pt x="74" y="154"/>
                    </a:lnTo>
                    <a:lnTo>
                      <a:pt x="68" y="174"/>
                    </a:lnTo>
                    <a:lnTo>
                      <a:pt x="64" y="182"/>
                    </a:lnTo>
                    <a:lnTo>
                      <a:pt x="64" y="186"/>
                    </a:lnTo>
                    <a:lnTo>
                      <a:pt x="64" y="200"/>
                    </a:lnTo>
                    <a:lnTo>
                      <a:pt x="66" y="206"/>
                    </a:lnTo>
                    <a:lnTo>
                      <a:pt x="64" y="210"/>
                    </a:lnTo>
                    <a:lnTo>
                      <a:pt x="70" y="222"/>
                    </a:lnTo>
                    <a:lnTo>
                      <a:pt x="70" y="232"/>
                    </a:lnTo>
                    <a:lnTo>
                      <a:pt x="74" y="238"/>
                    </a:lnTo>
                    <a:lnTo>
                      <a:pt x="76" y="250"/>
                    </a:lnTo>
                    <a:lnTo>
                      <a:pt x="82" y="254"/>
                    </a:lnTo>
                    <a:lnTo>
                      <a:pt x="86" y="260"/>
                    </a:lnTo>
                    <a:lnTo>
                      <a:pt x="88" y="268"/>
                    </a:lnTo>
                    <a:lnTo>
                      <a:pt x="86" y="272"/>
                    </a:lnTo>
                    <a:lnTo>
                      <a:pt x="84" y="270"/>
                    </a:lnTo>
                    <a:lnTo>
                      <a:pt x="74" y="278"/>
                    </a:lnTo>
                    <a:lnTo>
                      <a:pt x="62" y="282"/>
                    </a:lnTo>
                    <a:lnTo>
                      <a:pt x="52" y="294"/>
                    </a:lnTo>
                    <a:lnTo>
                      <a:pt x="46" y="320"/>
                    </a:lnTo>
                    <a:lnTo>
                      <a:pt x="30" y="340"/>
                    </a:lnTo>
                    <a:lnTo>
                      <a:pt x="22" y="340"/>
                    </a:lnTo>
                    <a:lnTo>
                      <a:pt x="22" y="346"/>
                    </a:lnTo>
                    <a:lnTo>
                      <a:pt x="24" y="354"/>
                    </a:lnTo>
                    <a:lnTo>
                      <a:pt x="24" y="360"/>
                    </a:lnTo>
                    <a:lnTo>
                      <a:pt x="20" y="372"/>
                    </a:lnTo>
                    <a:lnTo>
                      <a:pt x="22" y="378"/>
                    </a:lnTo>
                    <a:lnTo>
                      <a:pt x="34" y="386"/>
                    </a:lnTo>
                    <a:lnTo>
                      <a:pt x="36" y="392"/>
                    </a:lnTo>
                    <a:lnTo>
                      <a:pt x="32" y="396"/>
                    </a:lnTo>
                    <a:lnTo>
                      <a:pt x="30" y="402"/>
                    </a:lnTo>
                    <a:lnTo>
                      <a:pt x="24" y="410"/>
                    </a:lnTo>
                    <a:lnTo>
                      <a:pt x="20" y="408"/>
                    </a:lnTo>
                    <a:lnTo>
                      <a:pt x="6" y="406"/>
                    </a:lnTo>
                    <a:lnTo>
                      <a:pt x="0" y="430"/>
                    </a:lnTo>
                    <a:lnTo>
                      <a:pt x="290" y="596"/>
                    </a:lnTo>
                    <a:lnTo>
                      <a:pt x="458" y="62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6" name="Freeform 42">
                <a:extLst>
                  <a:ext uri="{FF2B5EF4-FFF2-40B4-BE49-F238E27FC236}">
                    <a16:creationId xmlns:a16="http://schemas.microsoft.com/office/drawing/2014/main" id="{0B1DA421-FF7B-4EB1-BD84-9B7023B8A4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03" y="2112"/>
                <a:ext cx="1106" cy="1078"/>
              </a:xfrm>
              <a:custGeom>
                <a:avLst/>
                <a:gdLst>
                  <a:gd name="T0" fmla="*/ 1004 w 1102"/>
                  <a:gd name="T1" fmla="*/ 295 h 1074"/>
                  <a:gd name="T2" fmla="*/ 933 w 1102"/>
                  <a:gd name="T3" fmla="*/ 277 h 1074"/>
                  <a:gd name="T4" fmla="*/ 887 w 1102"/>
                  <a:gd name="T5" fmla="*/ 285 h 1074"/>
                  <a:gd name="T6" fmla="*/ 849 w 1102"/>
                  <a:gd name="T7" fmla="*/ 285 h 1074"/>
                  <a:gd name="T8" fmla="*/ 839 w 1102"/>
                  <a:gd name="T9" fmla="*/ 285 h 1074"/>
                  <a:gd name="T10" fmla="*/ 821 w 1102"/>
                  <a:gd name="T11" fmla="*/ 277 h 1074"/>
                  <a:gd name="T12" fmla="*/ 803 w 1102"/>
                  <a:gd name="T13" fmla="*/ 299 h 1074"/>
                  <a:gd name="T14" fmla="*/ 793 w 1102"/>
                  <a:gd name="T15" fmla="*/ 281 h 1074"/>
                  <a:gd name="T16" fmla="*/ 755 w 1102"/>
                  <a:gd name="T17" fmla="*/ 273 h 1074"/>
                  <a:gd name="T18" fmla="*/ 733 w 1102"/>
                  <a:gd name="T19" fmla="*/ 269 h 1074"/>
                  <a:gd name="T20" fmla="*/ 699 w 1102"/>
                  <a:gd name="T21" fmla="*/ 261 h 1074"/>
                  <a:gd name="T22" fmla="*/ 676 w 1102"/>
                  <a:gd name="T23" fmla="*/ 253 h 1074"/>
                  <a:gd name="T24" fmla="*/ 640 w 1102"/>
                  <a:gd name="T25" fmla="*/ 243 h 1074"/>
                  <a:gd name="T26" fmla="*/ 624 w 1102"/>
                  <a:gd name="T27" fmla="*/ 221 h 1074"/>
                  <a:gd name="T28" fmla="*/ 584 w 1102"/>
                  <a:gd name="T29" fmla="*/ 211 h 1074"/>
                  <a:gd name="T30" fmla="*/ 341 w 1102"/>
                  <a:gd name="T31" fmla="*/ 0 h 1074"/>
                  <a:gd name="T32" fmla="*/ 0 w 1102"/>
                  <a:gd name="T33" fmla="*/ 422 h 1074"/>
                  <a:gd name="T34" fmla="*/ 4 w 1102"/>
                  <a:gd name="T35" fmla="*/ 440 h 1074"/>
                  <a:gd name="T36" fmla="*/ 30 w 1102"/>
                  <a:gd name="T37" fmla="*/ 476 h 1074"/>
                  <a:gd name="T38" fmla="*/ 134 w 1102"/>
                  <a:gd name="T39" fmla="*/ 578 h 1074"/>
                  <a:gd name="T40" fmla="*/ 149 w 1102"/>
                  <a:gd name="T41" fmla="*/ 612 h 1074"/>
                  <a:gd name="T42" fmla="*/ 221 w 1102"/>
                  <a:gd name="T43" fmla="*/ 721 h 1074"/>
                  <a:gd name="T44" fmla="*/ 289 w 1102"/>
                  <a:gd name="T45" fmla="*/ 731 h 1074"/>
                  <a:gd name="T46" fmla="*/ 327 w 1102"/>
                  <a:gd name="T47" fmla="*/ 670 h 1074"/>
                  <a:gd name="T48" fmla="*/ 351 w 1102"/>
                  <a:gd name="T49" fmla="*/ 664 h 1074"/>
                  <a:gd name="T50" fmla="*/ 393 w 1102"/>
                  <a:gd name="T51" fmla="*/ 677 h 1074"/>
                  <a:gd name="T52" fmla="*/ 438 w 1102"/>
                  <a:gd name="T53" fmla="*/ 699 h 1074"/>
                  <a:gd name="T54" fmla="*/ 454 w 1102"/>
                  <a:gd name="T55" fmla="*/ 711 h 1074"/>
                  <a:gd name="T56" fmla="*/ 490 w 1102"/>
                  <a:gd name="T57" fmla="*/ 757 h 1074"/>
                  <a:gd name="T58" fmla="*/ 550 w 1102"/>
                  <a:gd name="T59" fmla="*/ 871 h 1074"/>
                  <a:gd name="T60" fmla="*/ 584 w 1102"/>
                  <a:gd name="T61" fmla="*/ 911 h 1074"/>
                  <a:gd name="T62" fmla="*/ 598 w 1102"/>
                  <a:gd name="T63" fmla="*/ 972 h 1074"/>
                  <a:gd name="T64" fmla="*/ 650 w 1102"/>
                  <a:gd name="T65" fmla="*/ 1032 h 1074"/>
                  <a:gd name="T66" fmla="*/ 741 w 1102"/>
                  <a:gd name="T67" fmla="*/ 1060 h 1074"/>
                  <a:gd name="T68" fmla="*/ 791 w 1102"/>
                  <a:gd name="T69" fmla="*/ 1068 h 1074"/>
                  <a:gd name="T70" fmla="*/ 785 w 1102"/>
                  <a:gd name="T71" fmla="*/ 1054 h 1074"/>
                  <a:gd name="T72" fmla="*/ 769 w 1102"/>
                  <a:gd name="T73" fmla="*/ 950 h 1074"/>
                  <a:gd name="T74" fmla="*/ 761 w 1102"/>
                  <a:gd name="T75" fmla="*/ 937 h 1074"/>
                  <a:gd name="T76" fmla="*/ 783 w 1102"/>
                  <a:gd name="T77" fmla="*/ 899 h 1074"/>
                  <a:gd name="T78" fmla="*/ 789 w 1102"/>
                  <a:gd name="T79" fmla="*/ 883 h 1074"/>
                  <a:gd name="T80" fmla="*/ 803 w 1102"/>
                  <a:gd name="T81" fmla="*/ 849 h 1074"/>
                  <a:gd name="T82" fmla="*/ 817 w 1102"/>
                  <a:gd name="T83" fmla="*/ 849 h 1074"/>
                  <a:gd name="T84" fmla="*/ 827 w 1102"/>
                  <a:gd name="T85" fmla="*/ 833 h 1074"/>
                  <a:gd name="T86" fmla="*/ 837 w 1102"/>
                  <a:gd name="T87" fmla="*/ 831 h 1074"/>
                  <a:gd name="T88" fmla="*/ 859 w 1102"/>
                  <a:gd name="T89" fmla="*/ 821 h 1074"/>
                  <a:gd name="T90" fmla="*/ 871 w 1102"/>
                  <a:gd name="T91" fmla="*/ 799 h 1074"/>
                  <a:gd name="T92" fmla="*/ 879 w 1102"/>
                  <a:gd name="T93" fmla="*/ 807 h 1074"/>
                  <a:gd name="T94" fmla="*/ 967 w 1102"/>
                  <a:gd name="T95" fmla="*/ 761 h 1074"/>
                  <a:gd name="T96" fmla="*/ 986 w 1102"/>
                  <a:gd name="T97" fmla="*/ 713 h 1074"/>
                  <a:gd name="T98" fmla="*/ 1004 w 1102"/>
                  <a:gd name="T99" fmla="*/ 707 h 1074"/>
                  <a:gd name="T100" fmla="*/ 1062 w 1102"/>
                  <a:gd name="T101" fmla="*/ 697 h 1074"/>
                  <a:gd name="T102" fmla="*/ 1078 w 1102"/>
                  <a:gd name="T103" fmla="*/ 689 h 1074"/>
                  <a:gd name="T104" fmla="*/ 1088 w 1102"/>
                  <a:gd name="T105" fmla="*/ 666 h 1074"/>
                  <a:gd name="T106" fmla="*/ 1092 w 1102"/>
                  <a:gd name="T107" fmla="*/ 624 h 1074"/>
                  <a:gd name="T108" fmla="*/ 1102 w 1102"/>
                  <a:gd name="T109" fmla="*/ 590 h 1074"/>
                  <a:gd name="T110" fmla="*/ 1096 w 1102"/>
                  <a:gd name="T111" fmla="*/ 536 h 1074"/>
                  <a:gd name="T112" fmla="*/ 1088 w 1102"/>
                  <a:gd name="T113" fmla="*/ 514 h 1074"/>
                  <a:gd name="T114" fmla="*/ 1076 w 1102"/>
                  <a:gd name="T115" fmla="*/ 482 h 1074"/>
                  <a:gd name="T116" fmla="*/ 1058 w 1102"/>
                  <a:gd name="T117" fmla="*/ 311 h 1074"/>
                  <a:gd name="T118" fmla="*/ 1020 w 1102"/>
                  <a:gd name="T119" fmla="*/ 303 h 107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102" h="1074">
                    <a:moveTo>
                      <a:pt x="1016" y="302"/>
                    </a:moveTo>
                    <a:lnTo>
                      <a:pt x="1012" y="300"/>
                    </a:lnTo>
                    <a:lnTo>
                      <a:pt x="1008" y="296"/>
                    </a:lnTo>
                    <a:lnTo>
                      <a:pt x="1000" y="294"/>
                    </a:lnTo>
                    <a:lnTo>
                      <a:pt x="962" y="274"/>
                    </a:lnTo>
                    <a:lnTo>
                      <a:pt x="960" y="276"/>
                    </a:lnTo>
                    <a:lnTo>
                      <a:pt x="948" y="280"/>
                    </a:lnTo>
                    <a:lnTo>
                      <a:pt x="930" y="276"/>
                    </a:lnTo>
                    <a:lnTo>
                      <a:pt x="922" y="276"/>
                    </a:lnTo>
                    <a:lnTo>
                      <a:pt x="916" y="278"/>
                    </a:lnTo>
                    <a:lnTo>
                      <a:pt x="902" y="284"/>
                    </a:lnTo>
                    <a:lnTo>
                      <a:pt x="884" y="284"/>
                    </a:lnTo>
                    <a:lnTo>
                      <a:pt x="880" y="288"/>
                    </a:lnTo>
                    <a:lnTo>
                      <a:pt x="866" y="298"/>
                    </a:lnTo>
                    <a:lnTo>
                      <a:pt x="854" y="290"/>
                    </a:lnTo>
                    <a:lnTo>
                      <a:pt x="846" y="284"/>
                    </a:lnTo>
                    <a:lnTo>
                      <a:pt x="846" y="282"/>
                    </a:lnTo>
                    <a:lnTo>
                      <a:pt x="838" y="280"/>
                    </a:lnTo>
                    <a:lnTo>
                      <a:pt x="836" y="284"/>
                    </a:lnTo>
                    <a:lnTo>
                      <a:pt x="832" y="286"/>
                    </a:lnTo>
                    <a:lnTo>
                      <a:pt x="822" y="282"/>
                    </a:lnTo>
                    <a:lnTo>
                      <a:pt x="820" y="276"/>
                    </a:lnTo>
                    <a:lnTo>
                      <a:pt x="818" y="276"/>
                    </a:lnTo>
                    <a:lnTo>
                      <a:pt x="810" y="280"/>
                    </a:lnTo>
                    <a:lnTo>
                      <a:pt x="804" y="288"/>
                    </a:lnTo>
                    <a:lnTo>
                      <a:pt x="806" y="294"/>
                    </a:lnTo>
                    <a:lnTo>
                      <a:pt x="800" y="298"/>
                    </a:lnTo>
                    <a:lnTo>
                      <a:pt x="796" y="290"/>
                    </a:lnTo>
                    <a:lnTo>
                      <a:pt x="798" y="284"/>
                    </a:lnTo>
                    <a:lnTo>
                      <a:pt x="796" y="280"/>
                    </a:lnTo>
                    <a:lnTo>
                      <a:pt x="790" y="280"/>
                    </a:lnTo>
                    <a:lnTo>
                      <a:pt x="782" y="284"/>
                    </a:lnTo>
                    <a:lnTo>
                      <a:pt x="778" y="284"/>
                    </a:lnTo>
                    <a:lnTo>
                      <a:pt x="758" y="270"/>
                    </a:lnTo>
                    <a:lnTo>
                      <a:pt x="752" y="272"/>
                    </a:lnTo>
                    <a:lnTo>
                      <a:pt x="750" y="284"/>
                    </a:lnTo>
                    <a:lnTo>
                      <a:pt x="734" y="280"/>
                    </a:lnTo>
                    <a:lnTo>
                      <a:pt x="734" y="270"/>
                    </a:lnTo>
                    <a:lnTo>
                      <a:pt x="730" y="268"/>
                    </a:lnTo>
                    <a:lnTo>
                      <a:pt x="722" y="260"/>
                    </a:lnTo>
                    <a:lnTo>
                      <a:pt x="722" y="256"/>
                    </a:lnTo>
                    <a:lnTo>
                      <a:pt x="702" y="254"/>
                    </a:lnTo>
                    <a:lnTo>
                      <a:pt x="696" y="260"/>
                    </a:lnTo>
                    <a:lnTo>
                      <a:pt x="686" y="256"/>
                    </a:lnTo>
                    <a:lnTo>
                      <a:pt x="682" y="248"/>
                    </a:lnTo>
                    <a:lnTo>
                      <a:pt x="676" y="250"/>
                    </a:lnTo>
                    <a:lnTo>
                      <a:pt x="674" y="252"/>
                    </a:lnTo>
                    <a:lnTo>
                      <a:pt x="670" y="252"/>
                    </a:lnTo>
                    <a:lnTo>
                      <a:pt x="662" y="248"/>
                    </a:lnTo>
                    <a:lnTo>
                      <a:pt x="640" y="244"/>
                    </a:lnTo>
                    <a:lnTo>
                      <a:pt x="638" y="242"/>
                    </a:lnTo>
                    <a:lnTo>
                      <a:pt x="634" y="234"/>
                    </a:lnTo>
                    <a:lnTo>
                      <a:pt x="634" y="230"/>
                    </a:lnTo>
                    <a:lnTo>
                      <a:pt x="630" y="226"/>
                    </a:lnTo>
                    <a:lnTo>
                      <a:pt x="622" y="220"/>
                    </a:lnTo>
                    <a:lnTo>
                      <a:pt x="616" y="226"/>
                    </a:lnTo>
                    <a:lnTo>
                      <a:pt x="600" y="228"/>
                    </a:lnTo>
                    <a:lnTo>
                      <a:pt x="594" y="226"/>
                    </a:lnTo>
                    <a:lnTo>
                      <a:pt x="582" y="210"/>
                    </a:lnTo>
                    <a:lnTo>
                      <a:pt x="578" y="206"/>
                    </a:lnTo>
                    <a:lnTo>
                      <a:pt x="570" y="206"/>
                    </a:lnTo>
                    <a:lnTo>
                      <a:pt x="576" y="14"/>
                    </a:lnTo>
                    <a:lnTo>
                      <a:pt x="340" y="0"/>
                    </a:lnTo>
                    <a:lnTo>
                      <a:pt x="334" y="0"/>
                    </a:lnTo>
                    <a:lnTo>
                      <a:pt x="298" y="448"/>
                    </a:lnTo>
                    <a:lnTo>
                      <a:pt x="2" y="418"/>
                    </a:lnTo>
                    <a:lnTo>
                      <a:pt x="0" y="420"/>
                    </a:lnTo>
                    <a:lnTo>
                      <a:pt x="2" y="424"/>
                    </a:lnTo>
                    <a:lnTo>
                      <a:pt x="4" y="426"/>
                    </a:lnTo>
                    <a:lnTo>
                      <a:pt x="0" y="430"/>
                    </a:lnTo>
                    <a:lnTo>
                      <a:pt x="4" y="438"/>
                    </a:lnTo>
                    <a:lnTo>
                      <a:pt x="4" y="440"/>
                    </a:lnTo>
                    <a:lnTo>
                      <a:pt x="20" y="450"/>
                    </a:lnTo>
                    <a:lnTo>
                      <a:pt x="24" y="462"/>
                    </a:lnTo>
                    <a:lnTo>
                      <a:pt x="30" y="474"/>
                    </a:lnTo>
                    <a:lnTo>
                      <a:pt x="46" y="484"/>
                    </a:lnTo>
                    <a:lnTo>
                      <a:pt x="92" y="540"/>
                    </a:lnTo>
                    <a:lnTo>
                      <a:pt x="130" y="572"/>
                    </a:lnTo>
                    <a:lnTo>
                      <a:pt x="134" y="576"/>
                    </a:lnTo>
                    <a:lnTo>
                      <a:pt x="136" y="584"/>
                    </a:lnTo>
                    <a:lnTo>
                      <a:pt x="136" y="592"/>
                    </a:lnTo>
                    <a:lnTo>
                      <a:pt x="138" y="596"/>
                    </a:lnTo>
                    <a:lnTo>
                      <a:pt x="148" y="610"/>
                    </a:lnTo>
                    <a:lnTo>
                      <a:pt x="146" y="642"/>
                    </a:lnTo>
                    <a:lnTo>
                      <a:pt x="148" y="652"/>
                    </a:lnTo>
                    <a:lnTo>
                      <a:pt x="162" y="674"/>
                    </a:lnTo>
                    <a:lnTo>
                      <a:pt x="220" y="718"/>
                    </a:lnTo>
                    <a:lnTo>
                      <a:pt x="260" y="742"/>
                    </a:lnTo>
                    <a:lnTo>
                      <a:pt x="272" y="744"/>
                    </a:lnTo>
                    <a:lnTo>
                      <a:pt x="278" y="740"/>
                    </a:lnTo>
                    <a:lnTo>
                      <a:pt x="288" y="728"/>
                    </a:lnTo>
                    <a:lnTo>
                      <a:pt x="294" y="724"/>
                    </a:lnTo>
                    <a:lnTo>
                      <a:pt x="312" y="684"/>
                    </a:lnTo>
                    <a:lnTo>
                      <a:pt x="320" y="672"/>
                    </a:lnTo>
                    <a:lnTo>
                      <a:pt x="326" y="668"/>
                    </a:lnTo>
                    <a:lnTo>
                      <a:pt x="340" y="672"/>
                    </a:lnTo>
                    <a:lnTo>
                      <a:pt x="342" y="672"/>
                    </a:lnTo>
                    <a:lnTo>
                      <a:pt x="346" y="666"/>
                    </a:lnTo>
                    <a:lnTo>
                      <a:pt x="350" y="662"/>
                    </a:lnTo>
                    <a:lnTo>
                      <a:pt x="356" y="664"/>
                    </a:lnTo>
                    <a:lnTo>
                      <a:pt x="364" y="668"/>
                    </a:lnTo>
                    <a:lnTo>
                      <a:pt x="386" y="672"/>
                    </a:lnTo>
                    <a:lnTo>
                      <a:pt x="392" y="674"/>
                    </a:lnTo>
                    <a:lnTo>
                      <a:pt x="408" y="680"/>
                    </a:lnTo>
                    <a:lnTo>
                      <a:pt x="414" y="676"/>
                    </a:lnTo>
                    <a:lnTo>
                      <a:pt x="432" y="686"/>
                    </a:lnTo>
                    <a:lnTo>
                      <a:pt x="436" y="696"/>
                    </a:lnTo>
                    <a:lnTo>
                      <a:pt x="438" y="698"/>
                    </a:lnTo>
                    <a:lnTo>
                      <a:pt x="440" y="702"/>
                    </a:lnTo>
                    <a:lnTo>
                      <a:pt x="444" y="702"/>
                    </a:lnTo>
                    <a:lnTo>
                      <a:pt x="452" y="708"/>
                    </a:lnTo>
                    <a:lnTo>
                      <a:pt x="462" y="722"/>
                    </a:lnTo>
                    <a:lnTo>
                      <a:pt x="478" y="736"/>
                    </a:lnTo>
                    <a:lnTo>
                      <a:pt x="488" y="750"/>
                    </a:lnTo>
                    <a:lnTo>
                      <a:pt x="488" y="754"/>
                    </a:lnTo>
                    <a:lnTo>
                      <a:pt x="514" y="818"/>
                    </a:lnTo>
                    <a:lnTo>
                      <a:pt x="518" y="828"/>
                    </a:lnTo>
                    <a:lnTo>
                      <a:pt x="546" y="862"/>
                    </a:lnTo>
                    <a:lnTo>
                      <a:pt x="548" y="868"/>
                    </a:lnTo>
                    <a:lnTo>
                      <a:pt x="568" y="890"/>
                    </a:lnTo>
                    <a:lnTo>
                      <a:pt x="572" y="894"/>
                    </a:lnTo>
                    <a:lnTo>
                      <a:pt x="580" y="902"/>
                    </a:lnTo>
                    <a:lnTo>
                      <a:pt x="582" y="908"/>
                    </a:lnTo>
                    <a:lnTo>
                      <a:pt x="582" y="928"/>
                    </a:lnTo>
                    <a:lnTo>
                      <a:pt x="588" y="936"/>
                    </a:lnTo>
                    <a:lnTo>
                      <a:pt x="590" y="960"/>
                    </a:lnTo>
                    <a:lnTo>
                      <a:pt x="596" y="968"/>
                    </a:lnTo>
                    <a:lnTo>
                      <a:pt x="616" y="1006"/>
                    </a:lnTo>
                    <a:lnTo>
                      <a:pt x="618" y="1018"/>
                    </a:lnTo>
                    <a:lnTo>
                      <a:pt x="632" y="1018"/>
                    </a:lnTo>
                    <a:lnTo>
                      <a:pt x="648" y="1028"/>
                    </a:lnTo>
                    <a:lnTo>
                      <a:pt x="666" y="1034"/>
                    </a:lnTo>
                    <a:lnTo>
                      <a:pt x="694" y="1052"/>
                    </a:lnTo>
                    <a:lnTo>
                      <a:pt x="732" y="1054"/>
                    </a:lnTo>
                    <a:lnTo>
                      <a:pt x="738" y="1056"/>
                    </a:lnTo>
                    <a:lnTo>
                      <a:pt x="758" y="1070"/>
                    </a:lnTo>
                    <a:lnTo>
                      <a:pt x="770" y="1074"/>
                    </a:lnTo>
                    <a:lnTo>
                      <a:pt x="778" y="1062"/>
                    </a:lnTo>
                    <a:lnTo>
                      <a:pt x="788" y="1064"/>
                    </a:lnTo>
                    <a:lnTo>
                      <a:pt x="790" y="1062"/>
                    </a:lnTo>
                    <a:lnTo>
                      <a:pt x="790" y="1056"/>
                    </a:lnTo>
                    <a:lnTo>
                      <a:pt x="782" y="1054"/>
                    </a:lnTo>
                    <a:lnTo>
                      <a:pt x="782" y="1050"/>
                    </a:lnTo>
                    <a:lnTo>
                      <a:pt x="774" y="1040"/>
                    </a:lnTo>
                    <a:lnTo>
                      <a:pt x="762" y="994"/>
                    </a:lnTo>
                    <a:lnTo>
                      <a:pt x="756" y="974"/>
                    </a:lnTo>
                    <a:lnTo>
                      <a:pt x="766" y="946"/>
                    </a:lnTo>
                    <a:lnTo>
                      <a:pt x="764" y="938"/>
                    </a:lnTo>
                    <a:lnTo>
                      <a:pt x="762" y="936"/>
                    </a:lnTo>
                    <a:lnTo>
                      <a:pt x="758" y="936"/>
                    </a:lnTo>
                    <a:lnTo>
                      <a:pt x="758" y="934"/>
                    </a:lnTo>
                    <a:lnTo>
                      <a:pt x="758" y="932"/>
                    </a:lnTo>
                    <a:lnTo>
                      <a:pt x="760" y="930"/>
                    </a:lnTo>
                    <a:lnTo>
                      <a:pt x="772" y="922"/>
                    </a:lnTo>
                    <a:lnTo>
                      <a:pt x="780" y="896"/>
                    </a:lnTo>
                    <a:lnTo>
                      <a:pt x="774" y="894"/>
                    </a:lnTo>
                    <a:lnTo>
                      <a:pt x="770" y="882"/>
                    </a:lnTo>
                    <a:lnTo>
                      <a:pt x="778" y="874"/>
                    </a:lnTo>
                    <a:lnTo>
                      <a:pt x="786" y="880"/>
                    </a:lnTo>
                    <a:lnTo>
                      <a:pt x="800" y="870"/>
                    </a:lnTo>
                    <a:lnTo>
                      <a:pt x="804" y="856"/>
                    </a:lnTo>
                    <a:lnTo>
                      <a:pt x="796" y="852"/>
                    </a:lnTo>
                    <a:lnTo>
                      <a:pt x="800" y="846"/>
                    </a:lnTo>
                    <a:lnTo>
                      <a:pt x="804" y="846"/>
                    </a:lnTo>
                    <a:lnTo>
                      <a:pt x="806" y="848"/>
                    </a:lnTo>
                    <a:lnTo>
                      <a:pt x="810" y="844"/>
                    </a:lnTo>
                    <a:lnTo>
                      <a:pt x="814" y="846"/>
                    </a:lnTo>
                    <a:lnTo>
                      <a:pt x="820" y="846"/>
                    </a:lnTo>
                    <a:lnTo>
                      <a:pt x="822" y="844"/>
                    </a:lnTo>
                    <a:lnTo>
                      <a:pt x="824" y="842"/>
                    </a:lnTo>
                    <a:lnTo>
                      <a:pt x="824" y="830"/>
                    </a:lnTo>
                    <a:lnTo>
                      <a:pt x="826" y="826"/>
                    </a:lnTo>
                    <a:lnTo>
                      <a:pt x="828" y="826"/>
                    </a:lnTo>
                    <a:lnTo>
                      <a:pt x="832" y="828"/>
                    </a:lnTo>
                    <a:lnTo>
                      <a:pt x="834" y="828"/>
                    </a:lnTo>
                    <a:lnTo>
                      <a:pt x="856" y="824"/>
                    </a:lnTo>
                    <a:lnTo>
                      <a:pt x="858" y="822"/>
                    </a:lnTo>
                    <a:lnTo>
                      <a:pt x="858" y="820"/>
                    </a:lnTo>
                    <a:lnTo>
                      <a:pt x="856" y="818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66" y="800"/>
                    </a:lnTo>
                    <a:lnTo>
                      <a:pt x="868" y="796"/>
                    </a:lnTo>
                    <a:lnTo>
                      <a:pt x="874" y="794"/>
                    </a:lnTo>
                    <a:lnTo>
                      <a:pt x="876" y="796"/>
                    </a:lnTo>
                    <a:lnTo>
                      <a:pt x="874" y="798"/>
                    </a:lnTo>
                    <a:lnTo>
                      <a:pt x="876" y="804"/>
                    </a:lnTo>
                    <a:lnTo>
                      <a:pt x="880" y="804"/>
                    </a:lnTo>
                    <a:lnTo>
                      <a:pt x="884" y="802"/>
                    </a:lnTo>
                    <a:lnTo>
                      <a:pt x="914" y="792"/>
                    </a:lnTo>
                    <a:lnTo>
                      <a:pt x="964" y="758"/>
                    </a:lnTo>
                    <a:lnTo>
                      <a:pt x="966" y="746"/>
                    </a:lnTo>
                    <a:lnTo>
                      <a:pt x="990" y="726"/>
                    </a:lnTo>
                    <a:lnTo>
                      <a:pt x="990" y="724"/>
                    </a:lnTo>
                    <a:lnTo>
                      <a:pt x="982" y="710"/>
                    </a:lnTo>
                    <a:lnTo>
                      <a:pt x="982" y="698"/>
                    </a:lnTo>
                    <a:lnTo>
                      <a:pt x="998" y="692"/>
                    </a:lnTo>
                    <a:lnTo>
                      <a:pt x="1002" y="692"/>
                    </a:lnTo>
                    <a:lnTo>
                      <a:pt x="1000" y="704"/>
                    </a:lnTo>
                    <a:lnTo>
                      <a:pt x="1000" y="708"/>
                    </a:lnTo>
                    <a:lnTo>
                      <a:pt x="1020" y="706"/>
                    </a:lnTo>
                    <a:lnTo>
                      <a:pt x="1022" y="710"/>
                    </a:lnTo>
                    <a:lnTo>
                      <a:pt x="1058" y="694"/>
                    </a:lnTo>
                    <a:lnTo>
                      <a:pt x="1078" y="694"/>
                    </a:lnTo>
                    <a:lnTo>
                      <a:pt x="1080" y="692"/>
                    </a:lnTo>
                    <a:lnTo>
                      <a:pt x="1078" y="690"/>
                    </a:lnTo>
                    <a:lnTo>
                      <a:pt x="1074" y="686"/>
                    </a:lnTo>
                    <a:lnTo>
                      <a:pt x="1072" y="680"/>
                    </a:lnTo>
                    <a:lnTo>
                      <a:pt x="1076" y="676"/>
                    </a:lnTo>
                    <a:lnTo>
                      <a:pt x="1078" y="670"/>
                    </a:lnTo>
                    <a:lnTo>
                      <a:pt x="1084" y="664"/>
                    </a:lnTo>
                    <a:lnTo>
                      <a:pt x="1090" y="642"/>
                    </a:lnTo>
                    <a:lnTo>
                      <a:pt x="1086" y="634"/>
                    </a:lnTo>
                    <a:lnTo>
                      <a:pt x="1086" y="626"/>
                    </a:lnTo>
                    <a:lnTo>
                      <a:pt x="1088" y="622"/>
                    </a:lnTo>
                    <a:lnTo>
                      <a:pt x="1086" y="616"/>
                    </a:lnTo>
                    <a:lnTo>
                      <a:pt x="1090" y="604"/>
                    </a:lnTo>
                    <a:lnTo>
                      <a:pt x="1096" y="598"/>
                    </a:lnTo>
                    <a:lnTo>
                      <a:pt x="1098" y="588"/>
                    </a:lnTo>
                    <a:lnTo>
                      <a:pt x="1102" y="570"/>
                    </a:lnTo>
                    <a:lnTo>
                      <a:pt x="1102" y="560"/>
                    </a:lnTo>
                    <a:lnTo>
                      <a:pt x="1098" y="544"/>
                    </a:lnTo>
                    <a:lnTo>
                      <a:pt x="1092" y="534"/>
                    </a:lnTo>
                    <a:lnTo>
                      <a:pt x="1090" y="532"/>
                    </a:lnTo>
                    <a:lnTo>
                      <a:pt x="1090" y="526"/>
                    </a:lnTo>
                    <a:lnTo>
                      <a:pt x="1088" y="522"/>
                    </a:lnTo>
                    <a:lnTo>
                      <a:pt x="1084" y="512"/>
                    </a:lnTo>
                    <a:lnTo>
                      <a:pt x="1078" y="508"/>
                    </a:lnTo>
                    <a:lnTo>
                      <a:pt x="1076" y="504"/>
                    </a:lnTo>
                    <a:lnTo>
                      <a:pt x="1080" y="494"/>
                    </a:lnTo>
                    <a:lnTo>
                      <a:pt x="1072" y="480"/>
                    </a:lnTo>
                    <a:lnTo>
                      <a:pt x="1060" y="468"/>
                    </a:lnTo>
                    <a:lnTo>
                      <a:pt x="1056" y="462"/>
                    </a:lnTo>
                    <a:lnTo>
                      <a:pt x="1054" y="362"/>
                    </a:lnTo>
                    <a:lnTo>
                      <a:pt x="1054" y="310"/>
                    </a:lnTo>
                    <a:lnTo>
                      <a:pt x="1042" y="308"/>
                    </a:lnTo>
                    <a:lnTo>
                      <a:pt x="1032" y="312"/>
                    </a:lnTo>
                    <a:lnTo>
                      <a:pt x="1028" y="310"/>
                    </a:lnTo>
                    <a:lnTo>
                      <a:pt x="1016" y="30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Freeform 43">
                <a:extLst>
                  <a:ext uri="{FF2B5EF4-FFF2-40B4-BE49-F238E27FC236}">
                    <a16:creationId xmlns:a16="http://schemas.microsoft.com/office/drawing/2014/main" id="{9D5DF2A4-02AF-4932-823B-A3FC84145CD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7" y="1811"/>
                <a:ext cx="583" cy="301"/>
              </a:xfrm>
              <a:custGeom>
                <a:avLst/>
                <a:gdLst>
                  <a:gd name="T0" fmla="*/ 117 w 580"/>
                  <a:gd name="T1" fmla="*/ 291 h 298"/>
                  <a:gd name="T2" fmla="*/ 115 w 580"/>
                  <a:gd name="T3" fmla="*/ 277 h 298"/>
                  <a:gd name="T4" fmla="*/ 133 w 580"/>
                  <a:gd name="T5" fmla="*/ 277 h 298"/>
                  <a:gd name="T6" fmla="*/ 466 w 580"/>
                  <a:gd name="T7" fmla="*/ 242 h 298"/>
                  <a:gd name="T8" fmla="*/ 501 w 580"/>
                  <a:gd name="T9" fmla="*/ 224 h 298"/>
                  <a:gd name="T10" fmla="*/ 521 w 580"/>
                  <a:gd name="T11" fmla="*/ 206 h 298"/>
                  <a:gd name="T12" fmla="*/ 523 w 580"/>
                  <a:gd name="T13" fmla="*/ 194 h 298"/>
                  <a:gd name="T14" fmla="*/ 531 w 580"/>
                  <a:gd name="T15" fmla="*/ 182 h 298"/>
                  <a:gd name="T16" fmla="*/ 579 w 580"/>
                  <a:gd name="T17" fmla="*/ 139 h 298"/>
                  <a:gd name="T18" fmla="*/ 577 w 580"/>
                  <a:gd name="T19" fmla="*/ 131 h 298"/>
                  <a:gd name="T20" fmla="*/ 569 w 580"/>
                  <a:gd name="T21" fmla="*/ 127 h 298"/>
                  <a:gd name="T22" fmla="*/ 559 w 580"/>
                  <a:gd name="T23" fmla="*/ 121 h 298"/>
                  <a:gd name="T24" fmla="*/ 553 w 580"/>
                  <a:gd name="T25" fmla="*/ 119 h 298"/>
                  <a:gd name="T26" fmla="*/ 527 w 580"/>
                  <a:gd name="T27" fmla="*/ 83 h 298"/>
                  <a:gd name="T28" fmla="*/ 525 w 580"/>
                  <a:gd name="T29" fmla="*/ 71 h 298"/>
                  <a:gd name="T30" fmla="*/ 523 w 580"/>
                  <a:gd name="T31" fmla="*/ 48 h 298"/>
                  <a:gd name="T32" fmla="*/ 511 w 580"/>
                  <a:gd name="T33" fmla="*/ 38 h 298"/>
                  <a:gd name="T34" fmla="*/ 495 w 580"/>
                  <a:gd name="T35" fmla="*/ 26 h 298"/>
                  <a:gd name="T36" fmla="*/ 480 w 580"/>
                  <a:gd name="T37" fmla="*/ 26 h 298"/>
                  <a:gd name="T38" fmla="*/ 472 w 580"/>
                  <a:gd name="T39" fmla="*/ 34 h 298"/>
                  <a:gd name="T40" fmla="*/ 460 w 580"/>
                  <a:gd name="T41" fmla="*/ 38 h 298"/>
                  <a:gd name="T42" fmla="*/ 440 w 580"/>
                  <a:gd name="T43" fmla="*/ 34 h 298"/>
                  <a:gd name="T44" fmla="*/ 418 w 580"/>
                  <a:gd name="T45" fmla="*/ 30 h 298"/>
                  <a:gd name="T46" fmla="*/ 390 w 580"/>
                  <a:gd name="T47" fmla="*/ 26 h 298"/>
                  <a:gd name="T48" fmla="*/ 368 w 580"/>
                  <a:gd name="T49" fmla="*/ 0 h 298"/>
                  <a:gd name="T50" fmla="*/ 356 w 580"/>
                  <a:gd name="T51" fmla="*/ 6 h 298"/>
                  <a:gd name="T52" fmla="*/ 340 w 580"/>
                  <a:gd name="T53" fmla="*/ 2 h 298"/>
                  <a:gd name="T54" fmla="*/ 338 w 580"/>
                  <a:gd name="T55" fmla="*/ 14 h 298"/>
                  <a:gd name="T56" fmla="*/ 340 w 580"/>
                  <a:gd name="T57" fmla="*/ 38 h 298"/>
                  <a:gd name="T58" fmla="*/ 320 w 580"/>
                  <a:gd name="T59" fmla="*/ 48 h 298"/>
                  <a:gd name="T60" fmla="*/ 302 w 580"/>
                  <a:gd name="T61" fmla="*/ 51 h 298"/>
                  <a:gd name="T62" fmla="*/ 269 w 580"/>
                  <a:gd name="T63" fmla="*/ 107 h 298"/>
                  <a:gd name="T64" fmla="*/ 245 w 580"/>
                  <a:gd name="T65" fmla="*/ 125 h 298"/>
                  <a:gd name="T66" fmla="*/ 231 w 580"/>
                  <a:gd name="T67" fmla="*/ 113 h 298"/>
                  <a:gd name="T68" fmla="*/ 219 w 580"/>
                  <a:gd name="T69" fmla="*/ 141 h 298"/>
                  <a:gd name="T70" fmla="*/ 205 w 580"/>
                  <a:gd name="T71" fmla="*/ 141 h 298"/>
                  <a:gd name="T72" fmla="*/ 187 w 580"/>
                  <a:gd name="T73" fmla="*/ 139 h 298"/>
                  <a:gd name="T74" fmla="*/ 177 w 580"/>
                  <a:gd name="T75" fmla="*/ 156 h 298"/>
                  <a:gd name="T76" fmla="*/ 151 w 580"/>
                  <a:gd name="T77" fmla="*/ 141 h 298"/>
                  <a:gd name="T78" fmla="*/ 119 w 580"/>
                  <a:gd name="T79" fmla="*/ 147 h 298"/>
                  <a:gd name="T80" fmla="*/ 117 w 580"/>
                  <a:gd name="T81" fmla="*/ 160 h 298"/>
                  <a:gd name="T82" fmla="*/ 105 w 580"/>
                  <a:gd name="T83" fmla="*/ 160 h 298"/>
                  <a:gd name="T84" fmla="*/ 105 w 580"/>
                  <a:gd name="T85" fmla="*/ 162 h 298"/>
                  <a:gd name="T86" fmla="*/ 101 w 580"/>
                  <a:gd name="T87" fmla="*/ 174 h 298"/>
                  <a:gd name="T88" fmla="*/ 99 w 580"/>
                  <a:gd name="T89" fmla="*/ 180 h 298"/>
                  <a:gd name="T90" fmla="*/ 105 w 580"/>
                  <a:gd name="T91" fmla="*/ 192 h 298"/>
                  <a:gd name="T92" fmla="*/ 72 w 580"/>
                  <a:gd name="T93" fmla="*/ 202 h 298"/>
                  <a:gd name="T94" fmla="*/ 78 w 580"/>
                  <a:gd name="T95" fmla="*/ 234 h 298"/>
                  <a:gd name="T96" fmla="*/ 58 w 580"/>
                  <a:gd name="T97" fmla="*/ 232 h 298"/>
                  <a:gd name="T98" fmla="*/ 36 w 580"/>
                  <a:gd name="T99" fmla="*/ 224 h 298"/>
                  <a:gd name="T100" fmla="*/ 22 w 580"/>
                  <a:gd name="T101" fmla="*/ 246 h 298"/>
                  <a:gd name="T102" fmla="*/ 24 w 580"/>
                  <a:gd name="T103" fmla="*/ 250 h 298"/>
                  <a:gd name="T104" fmla="*/ 32 w 580"/>
                  <a:gd name="T105" fmla="*/ 263 h 298"/>
                  <a:gd name="T106" fmla="*/ 20 w 580"/>
                  <a:gd name="T107" fmla="*/ 291 h 298"/>
                  <a:gd name="T108" fmla="*/ 6 w 580"/>
                  <a:gd name="T109" fmla="*/ 293 h 29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580" h="298">
                    <a:moveTo>
                      <a:pt x="0" y="298"/>
                    </a:moveTo>
                    <a:lnTo>
                      <a:pt x="116" y="288"/>
                    </a:lnTo>
                    <a:lnTo>
                      <a:pt x="116" y="278"/>
                    </a:lnTo>
                    <a:lnTo>
                      <a:pt x="114" y="274"/>
                    </a:lnTo>
                    <a:lnTo>
                      <a:pt x="126" y="272"/>
                    </a:lnTo>
                    <a:lnTo>
                      <a:pt x="132" y="274"/>
                    </a:lnTo>
                    <a:lnTo>
                      <a:pt x="458" y="246"/>
                    </a:lnTo>
                    <a:lnTo>
                      <a:pt x="464" y="240"/>
                    </a:lnTo>
                    <a:lnTo>
                      <a:pt x="470" y="236"/>
                    </a:lnTo>
                    <a:lnTo>
                      <a:pt x="498" y="222"/>
                    </a:lnTo>
                    <a:lnTo>
                      <a:pt x="502" y="214"/>
                    </a:lnTo>
                    <a:lnTo>
                      <a:pt x="518" y="204"/>
                    </a:lnTo>
                    <a:lnTo>
                      <a:pt x="518" y="196"/>
                    </a:lnTo>
                    <a:lnTo>
                      <a:pt x="520" y="192"/>
                    </a:lnTo>
                    <a:lnTo>
                      <a:pt x="528" y="188"/>
                    </a:lnTo>
                    <a:lnTo>
                      <a:pt x="528" y="180"/>
                    </a:lnTo>
                    <a:lnTo>
                      <a:pt x="536" y="172"/>
                    </a:lnTo>
                    <a:lnTo>
                      <a:pt x="576" y="138"/>
                    </a:lnTo>
                    <a:lnTo>
                      <a:pt x="580" y="130"/>
                    </a:lnTo>
                    <a:lnTo>
                      <a:pt x="574" y="130"/>
                    </a:lnTo>
                    <a:lnTo>
                      <a:pt x="568" y="126"/>
                    </a:lnTo>
                    <a:lnTo>
                      <a:pt x="566" y="126"/>
                    </a:lnTo>
                    <a:lnTo>
                      <a:pt x="564" y="122"/>
                    </a:lnTo>
                    <a:lnTo>
                      <a:pt x="556" y="120"/>
                    </a:lnTo>
                    <a:lnTo>
                      <a:pt x="552" y="120"/>
                    </a:lnTo>
                    <a:lnTo>
                      <a:pt x="550" y="118"/>
                    </a:lnTo>
                    <a:lnTo>
                      <a:pt x="540" y="102"/>
                    </a:lnTo>
                    <a:lnTo>
                      <a:pt x="524" y="82"/>
                    </a:lnTo>
                    <a:lnTo>
                      <a:pt x="522" y="76"/>
                    </a:lnTo>
                    <a:lnTo>
                      <a:pt x="522" y="70"/>
                    </a:lnTo>
                    <a:lnTo>
                      <a:pt x="522" y="62"/>
                    </a:lnTo>
                    <a:lnTo>
                      <a:pt x="520" y="48"/>
                    </a:lnTo>
                    <a:lnTo>
                      <a:pt x="518" y="46"/>
                    </a:lnTo>
                    <a:lnTo>
                      <a:pt x="508" y="38"/>
                    </a:lnTo>
                    <a:lnTo>
                      <a:pt x="500" y="38"/>
                    </a:lnTo>
                    <a:lnTo>
                      <a:pt x="492" y="26"/>
                    </a:lnTo>
                    <a:lnTo>
                      <a:pt x="488" y="20"/>
                    </a:lnTo>
                    <a:lnTo>
                      <a:pt x="478" y="26"/>
                    </a:lnTo>
                    <a:lnTo>
                      <a:pt x="476" y="32"/>
                    </a:lnTo>
                    <a:lnTo>
                      <a:pt x="470" y="34"/>
                    </a:lnTo>
                    <a:lnTo>
                      <a:pt x="468" y="36"/>
                    </a:lnTo>
                    <a:lnTo>
                      <a:pt x="458" y="38"/>
                    </a:lnTo>
                    <a:lnTo>
                      <a:pt x="444" y="32"/>
                    </a:lnTo>
                    <a:lnTo>
                      <a:pt x="438" y="34"/>
                    </a:lnTo>
                    <a:lnTo>
                      <a:pt x="432" y="42"/>
                    </a:lnTo>
                    <a:lnTo>
                      <a:pt x="416" y="30"/>
                    </a:lnTo>
                    <a:lnTo>
                      <a:pt x="400" y="32"/>
                    </a:lnTo>
                    <a:lnTo>
                      <a:pt x="388" y="26"/>
                    </a:lnTo>
                    <a:lnTo>
                      <a:pt x="382" y="12"/>
                    </a:lnTo>
                    <a:lnTo>
                      <a:pt x="366" y="0"/>
                    </a:lnTo>
                    <a:lnTo>
                      <a:pt x="358" y="6"/>
                    </a:lnTo>
                    <a:lnTo>
                      <a:pt x="354" y="6"/>
                    </a:lnTo>
                    <a:lnTo>
                      <a:pt x="346" y="2"/>
                    </a:lnTo>
                    <a:lnTo>
                      <a:pt x="338" y="2"/>
                    </a:lnTo>
                    <a:lnTo>
                      <a:pt x="336" y="10"/>
                    </a:lnTo>
                    <a:lnTo>
                      <a:pt x="336" y="14"/>
                    </a:lnTo>
                    <a:lnTo>
                      <a:pt x="342" y="32"/>
                    </a:lnTo>
                    <a:lnTo>
                      <a:pt x="338" y="38"/>
                    </a:lnTo>
                    <a:lnTo>
                      <a:pt x="328" y="40"/>
                    </a:lnTo>
                    <a:lnTo>
                      <a:pt x="318" y="48"/>
                    </a:lnTo>
                    <a:lnTo>
                      <a:pt x="306" y="46"/>
                    </a:lnTo>
                    <a:lnTo>
                      <a:pt x="300" y="50"/>
                    </a:lnTo>
                    <a:lnTo>
                      <a:pt x="300" y="64"/>
                    </a:lnTo>
                    <a:lnTo>
                      <a:pt x="268" y="106"/>
                    </a:lnTo>
                    <a:lnTo>
                      <a:pt x="264" y="122"/>
                    </a:lnTo>
                    <a:lnTo>
                      <a:pt x="244" y="124"/>
                    </a:lnTo>
                    <a:lnTo>
                      <a:pt x="234" y="114"/>
                    </a:lnTo>
                    <a:lnTo>
                      <a:pt x="230" y="112"/>
                    </a:lnTo>
                    <a:lnTo>
                      <a:pt x="224" y="120"/>
                    </a:lnTo>
                    <a:lnTo>
                      <a:pt x="218" y="140"/>
                    </a:lnTo>
                    <a:lnTo>
                      <a:pt x="212" y="144"/>
                    </a:lnTo>
                    <a:lnTo>
                      <a:pt x="204" y="140"/>
                    </a:lnTo>
                    <a:lnTo>
                      <a:pt x="198" y="132"/>
                    </a:lnTo>
                    <a:lnTo>
                      <a:pt x="186" y="138"/>
                    </a:lnTo>
                    <a:lnTo>
                      <a:pt x="180" y="152"/>
                    </a:lnTo>
                    <a:lnTo>
                      <a:pt x="176" y="154"/>
                    </a:lnTo>
                    <a:lnTo>
                      <a:pt x="174" y="152"/>
                    </a:lnTo>
                    <a:lnTo>
                      <a:pt x="150" y="140"/>
                    </a:lnTo>
                    <a:lnTo>
                      <a:pt x="132" y="148"/>
                    </a:lnTo>
                    <a:lnTo>
                      <a:pt x="118" y="146"/>
                    </a:lnTo>
                    <a:lnTo>
                      <a:pt x="114" y="154"/>
                    </a:lnTo>
                    <a:lnTo>
                      <a:pt x="116" y="158"/>
                    </a:lnTo>
                    <a:lnTo>
                      <a:pt x="110" y="160"/>
                    </a:lnTo>
                    <a:lnTo>
                      <a:pt x="104" y="158"/>
                    </a:lnTo>
                    <a:lnTo>
                      <a:pt x="104" y="160"/>
                    </a:lnTo>
                    <a:lnTo>
                      <a:pt x="102" y="164"/>
                    </a:lnTo>
                    <a:lnTo>
                      <a:pt x="100" y="172"/>
                    </a:lnTo>
                    <a:lnTo>
                      <a:pt x="96" y="174"/>
                    </a:lnTo>
                    <a:lnTo>
                      <a:pt x="98" y="178"/>
                    </a:lnTo>
                    <a:lnTo>
                      <a:pt x="106" y="188"/>
                    </a:lnTo>
                    <a:lnTo>
                      <a:pt x="104" y="190"/>
                    </a:lnTo>
                    <a:lnTo>
                      <a:pt x="80" y="196"/>
                    </a:lnTo>
                    <a:lnTo>
                      <a:pt x="72" y="200"/>
                    </a:lnTo>
                    <a:lnTo>
                      <a:pt x="74" y="212"/>
                    </a:lnTo>
                    <a:lnTo>
                      <a:pt x="78" y="232"/>
                    </a:lnTo>
                    <a:lnTo>
                      <a:pt x="68" y="236"/>
                    </a:lnTo>
                    <a:lnTo>
                      <a:pt x="58" y="230"/>
                    </a:lnTo>
                    <a:lnTo>
                      <a:pt x="48" y="224"/>
                    </a:lnTo>
                    <a:lnTo>
                      <a:pt x="36" y="222"/>
                    </a:lnTo>
                    <a:lnTo>
                      <a:pt x="26" y="228"/>
                    </a:lnTo>
                    <a:lnTo>
                      <a:pt x="22" y="244"/>
                    </a:lnTo>
                    <a:lnTo>
                      <a:pt x="22" y="246"/>
                    </a:lnTo>
                    <a:lnTo>
                      <a:pt x="24" y="248"/>
                    </a:lnTo>
                    <a:lnTo>
                      <a:pt x="30" y="250"/>
                    </a:lnTo>
                    <a:lnTo>
                      <a:pt x="32" y="260"/>
                    </a:lnTo>
                    <a:lnTo>
                      <a:pt x="24" y="284"/>
                    </a:lnTo>
                    <a:lnTo>
                      <a:pt x="20" y="288"/>
                    </a:lnTo>
                    <a:lnTo>
                      <a:pt x="16" y="286"/>
                    </a:lnTo>
                    <a:lnTo>
                      <a:pt x="6" y="290"/>
                    </a:lnTo>
                    <a:lnTo>
                      <a:pt x="0" y="29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" name="Freeform 44">
                <a:extLst>
                  <a:ext uri="{FF2B5EF4-FFF2-40B4-BE49-F238E27FC236}">
                    <a16:creationId xmlns:a16="http://schemas.microsoft.com/office/drawing/2014/main" id="{82BE65FE-8E82-47B5-8B71-FACDABF36C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67" y="2037"/>
                <a:ext cx="649" cy="229"/>
              </a:xfrm>
              <a:custGeom>
                <a:avLst/>
                <a:gdLst>
                  <a:gd name="T0" fmla="*/ 649 w 646"/>
                  <a:gd name="T1" fmla="*/ 0 h 228"/>
                  <a:gd name="T2" fmla="*/ 516 w 646"/>
                  <a:gd name="T3" fmla="*/ 16 h 228"/>
                  <a:gd name="T4" fmla="*/ 510 w 646"/>
                  <a:gd name="T5" fmla="*/ 22 h 228"/>
                  <a:gd name="T6" fmla="*/ 183 w 646"/>
                  <a:gd name="T7" fmla="*/ 50 h 228"/>
                  <a:gd name="T8" fmla="*/ 177 w 646"/>
                  <a:gd name="T9" fmla="*/ 48 h 228"/>
                  <a:gd name="T10" fmla="*/ 165 w 646"/>
                  <a:gd name="T11" fmla="*/ 50 h 228"/>
                  <a:gd name="T12" fmla="*/ 167 w 646"/>
                  <a:gd name="T13" fmla="*/ 54 h 228"/>
                  <a:gd name="T14" fmla="*/ 167 w 646"/>
                  <a:gd name="T15" fmla="*/ 64 h 228"/>
                  <a:gd name="T16" fmla="*/ 50 w 646"/>
                  <a:gd name="T17" fmla="*/ 74 h 228"/>
                  <a:gd name="T18" fmla="*/ 44 w 646"/>
                  <a:gd name="T19" fmla="*/ 88 h 228"/>
                  <a:gd name="T20" fmla="*/ 40 w 646"/>
                  <a:gd name="T21" fmla="*/ 104 h 228"/>
                  <a:gd name="T22" fmla="*/ 42 w 646"/>
                  <a:gd name="T23" fmla="*/ 110 h 228"/>
                  <a:gd name="T24" fmla="*/ 38 w 646"/>
                  <a:gd name="T25" fmla="*/ 125 h 228"/>
                  <a:gd name="T26" fmla="*/ 36 w 646"/>
                  <a:gd name="T27" fmla="*/ 131 h 228"/>
                  <a:gd name="T28" fmla="*/ 38 w 646"/>
                  <a:gd name="T29" fmla="*/ 135 h 228"/>
                  <a:gd name="T30" fmla="*/ 34 w 646"/>
                  <a:gd name="T31" fmla="*/ 143 h 228"/>
                  <a:gd name="T32" fmla="*/ 24 w 646"/>
                  <a:gd name="T33" fmla="*/ 153 h 228"/>
                  <a:gd name="T34" fmla="*/ 20 w 646"/>
                  <a:gd name="T35" fmla="*/ 175 h 228"/>
                  <a:gd name="T36" fmla="*/ 10 w 646"/>
                  <a:gd name="T37" fmla="*/ 187 h 228"/>
                  <a:gd name="T38" fmla="*/ 12 w 646"/>
                  <a:gd name="T39" fmla="*/ 201 h 228"/>
                  <a:gd name="T40" fmla="*/ 10 w 646"/>
                  <a:gd name="T41" fmla="*/ 219 h 228"/>
                  <a:gd name="T42" fmla="*/ 8 w 646"/>
                  <a:gd name="T43" fmla="*/ 219 h 228"/>
                  <a:gd name="T44" fmla="*/ 0 w 646"/>
                  <a:gd name="T45" fmla="*/ 229 h 228"/>
                  <a:gd name="T46" fmla="*/ 167 w 646"/>
                  <a:gd name="T47" fmla="*/ 215 h 228"/>
                  <a:gd name="T48" fmla="*/ 376 w 646"/>
                  <a:gd name="T49" fmla="*/ 197 h 228"/>
                  <a:gd name="T50" fmla="*/ 456 w 646"/>
                  <a:gd name="T51" fmla="*/ 189 h 228"/>
                  <a:gd name="T52" fmla="*/ 458 w 646"/>
                  <a:gd name="T53" fmla="*/ 165 h 228"/>
                  <a:gd name="T54" fmla="*/ 466 w 646"/>
                  <a:gd name="T55" fmla="*/ 165 h 228"/>
                  <a:gd name="T56" fmla="*/ 470 w 646"/>
                  <a:gd name="T57" fmla="*/ 165 h 228"/>
                  <a:gd name="T58" fmla="*/ 476 w 646"/>
                  <a:gd name="T59" fmla="*/ 159 h 228"/>
                  <a:gd name="T60" fmla="*/ 476 w 646"/>
                  <a:gd name="T61" fmla="*/ 153 h 228"/>
                  <a:gd name="T62" fmla="*/ 476 w 646"/>
                  <a:gd name="T63" fmla="*/ 147 h 228"/>
                  <a:gd name="T64" fmla="*/ 478 w 646"/>
                  <a:gd name="T65" fmla="*/ 141 h 228"/>
                  <a:gd name="T66" fmla="*/ 484 w 646"/>
                  <a:gd name="T67" fmla="*/ 135 h 228"/>
                  <a:gd name="T68" fmla="*/ 500 w 646"/>
                  <a:gd name="T69" fmla="*/ 127 h 228"/>
                  <a:gd name="T70" fmla="*/ 520 w 646"/>
                  <a:gd name="T71" fmla="*/ 123 h 228"/>
                  <a:gd name="T72" fmla="*/ 538 w 646"/>
                  <a:gd name="T73" fmla="*/ 106 h 228"/>
                  <a:gd name="T74" fmla="*/ 545 w 646"/>
                  <a:gd name="T75" fmla="*/ 102 h 228"/>
                  <a:gd name="T76" fmla="*/ 557 w 646"/>
                  <a:gd name="T77" fmla="*/ 92 h 228"/>
                  <a:gd name="T78" fmla="*/ 559 w 646"/>
                  <a:gd name="T79" fmla="*/ 82 h 228"/>
                  <a:gd name="T80" fmla="*/ 563 w 646"/>
                  <a:gd name="T81" fmla="*/ 82 h 228"/>
                  <a:gd name="T82" fmla="*/ 567 w 646"/>
                  <a:gd name="T83" fmla="*/ 82 h 228"/>
                  <a:gd name="T84" fmla="*/ 571 w 646"/>
                  <a:gd name="T85" fmla="*/ 78 h 228"/>
                  <a:gd name="T86" fmla="*/ 571 w 646"/>
                  <a:gd name="T87" fmla="*/ 76 h 228"/>
                  <a:gd name="T88" fmla="*/ 577 w 646"/>
                  <a:gd name="T89" fmla="*/ 70 h 228"/>
                  <a:gd name="T90" fmla="*/ 581 w 646"/>
                  <a:gd name="T91" fmla="*/ 70 h 228"/>
                  <a:gd name="T92" fmla="*/ 585 w 646"/>
                  <a:gd name="T93" fmla="*/ 74 h 228"/>
                  <a:gd name="T94" fmla="*/ 591 w 646"/>
                  <a:gd name="T95" fmla="*/ 70 h 228"/>
                  <a:gd name="T96" fmla="*/ 593 w 646"/>
                  <a:gd name="T97" fmla="*/ 66 h 228"/>
                  <a:gd name="T98" fmla="*/ 601 w 646"/>
                  <a:gd name="T99" fmla="*/ 58 h 228"/>
                  <a:gd name="T100" fmla="*/ 609 w 646"/>
                  <a:gd name="T101" fmla="*/ 56 h 228"/>
                  <a:gd name="T102" fmla="*/ 621 w 646"/>
                  <a:gd name="T103" fmla="*/ 56 h 228"/>
                  <a:gd name="T104" fmla="*/ 635 w 646"/>
                  <a:gd name="T105" fmla="*/ 34 h 228"/>
                  <a:gd name="T106" fmla="*/ 645 w 646"/>
                  <a:gd name="T107" fmla="*/ 26 h 228"/>
                  <a:gd name="T108" fmla="*/ 647 w 646"/>
                  <a:gd name="T109" fmla="*/ 20 h 228"/>
                  <a:gd name="T110" fmla="*/ 649 w 646"/>
                  <a:gd name="T111" fmla="*/ 14 h 228"/>
                  <a:gd name="T112" fmla="*/ 647 w 646"/>
                  <a:gd name="T113" fmla="*/ 6 h 228"/>
                  <a:gd name="T114" fmla="*/ 649 w 646"/>
                  <a:gd name="T115" fmla="*/ 0 h 22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646" h="228">
                    <a:moveTo>
                      <a:pt x="646" y="0"/>
                    </a:moveTo>
                    <a:lnTo>
                      <a:pt x="514" y="16"/>
                    </a:lnTo>
                    <a:lnTo>
                      <a:pt x="508" y="22"/>
                    </a:lnTo>
                    <a:lnTo>
                      <a:pt x="182" y="50"/>
                    </a:lnTo>
                    <a:lnTo>
                      <a:pt x="176" y="48"/>
                    </a:lnTo>
                    <a:lnTo>
                      <a:pt x="164" y="50"/>
                    </a:lnTo>
                    <a:lnTo>
                      <a:pt x="166" y="54"/>
                    </a:lnTo>
                    <a:lnTo>
                      <a:pt x="166" y="64"/>
                    </a:lnTo>
                    <a:lnTo>
                      <a:pt x="50" y="74"/>
                    </a:lnTo>
                    <a:lnTo>
                      <a:pt x="44" y="88"/>
                    </a:lnTo>
                    <a:lnTo>
                      <a:pt x="40" y="104"/>
                    </a:lnTo>
                    <a:lnTo>
                      <a:pt x="42" y="110"/>
                    </a:lnTo>
                    <a:lnTo>
                      <a:pt x="38" y="124"/>
                    </a:lnTo>
                    <a:lnTo>
                      <a:pt x="36" y="130"/>
                    </a:lnTo>
                    <a:lnTo>
                      <a:pt x="38" y="134"/>
                    </a:lnTo>
                    <a:lnTo>
                      <a:pt x="34" y="142"/>
                    </a:lnTo>
                    <a:lnTo>
                      <a:pt x="24" y="152"/>
                    </a:lnTo>
                    <a:lnTo>
                      <a:pt x="20" y="174"/>
                    </a:lnTo>
                    <a:lnTo>
                      <a:pt x="10" y="186"/>
                    </a:lnTo>
                    <a:lnTo>
                      <a:pt x="12" y="200"/>
                    </a:lnTo>
                    <a:lnTo>
                      <a:pt x="10" y="218"/>
                    </a:lnTo>
                    <a:lnTo>
                      <a:pt x="8" y="218"/>
                    </a:lnTo>
                    <a:lnTo>
                      <a:pt x="0" y="228"/>
                    </a:lnTo>
                    <a:lnTo>
                      <a:pt x="166" y="214"/>
                    </a:lnTo>
                    <a:lnTo>
                      <a:pt x="374" y="196"/>
                    </a:lnTo>
                    <a:lnTo>
                      <a:pt x="454" y="188"/>
                    </a:lnTo>
                    <a:lnTo>
                      <a:pt x="456" y="164"/>
                    </a:lnTo>
                    <a:lnTo>
                      <a:pt x="464" y="164"/>
                    </a:lnTo>
                    <a:lnTo>
                      <a:pt x="468" y="164"/>
                    </a:lnTo>
                    <a:lnTo>
                      <a:pt x="474" y="158"/>
                    </a:lnTo>
                    <a:lnTo>
                      <a:pt x="474" y="152"/>
                    </a:lnTo>
                    <a:lnTo>
                      <a:pt x="474" y="146"/>
                    </a:lnTo>
                    <a:lnTo>
                      <a:pt x="476" y="140"/>
                    </a:lnTo>
                    <a:lnTo>
                      <a:pt x="482" y="134"/>
                    </a:lnTo>
                    <a:lnTo>
                      <a:pt x="498" y="126"/>
                    </a:lnTo>
                    <a:lnTo>
                      <a:pt x="518" y="122"/>
                    </a:lnTo>
                    <a:lnTo>
                      <a:pt x="536" y="106"/>
                    </a:lnTo>
                    <a:lnTo>
                      <a:pt x="542" y="102"/>
                    </a:lnTo>
                    <a:lnTo>
                      <a:pt x="554" y="92"/>
                    </a:lnTo>
                    <a:lnTo>
                      <a:pt x="556" y="82"/>
                    </a:lnTo>
                    <a:lnTo>
                      <a:pt x="560" y="82"/>
                    </a:lnTo>
                    <a:lnTo>
                      <a:pt x="564" y="82"/>
                    </a:lnTo>
                    <a:lnTo>
                      <a:pt x="568" y="78"/>
                    </a:lnTo>
                    <a:lnTo>
                      <a:pt x="568" y="76"/>
                    </a:lnTo>
                    <a:lnTo>
                      <a:pt x="574" y="70"/>
                    </a:lnTo>
                    <a:lnTo>
                      <a:pt x="578" y="70"/>
                    </a:lnTo>
                    <a:lnTo>
                      <a:pt x="582" y="74"/>
                    </a:lnTo>
                    <a:lnTo>
                      <a:pt x="588" y="70"/>
                    </a:lnTo>
                    <a:lnTo>
                      <a:pt x="590" y="66"/>
                    </a:lnTo>
                    <a:lnTo>
                      <a:pt x="598" y="58"/>
                    </a:lnTo>
                    <a:lnTo>
                      <a:pt x="606" y="56"/>
                    </a:lnTo>
                    <a:lnTo>
                      <a:pt x="618" y="56"/>
                    </a:lnTo>
                    <a:lnTo>
                      <a:pt x="632" y="34"/>
                    </a:lnTo>
                    <a:lnTo>
                      <a:pt x="642" y="26"/>
                    </a:lnTo>
                    <a:lnTo>
                      <a:pt x="644" y="20"/>
                    </a:lnTo>
                    <a:lnTo>
                      <a:pt x="646" y="14"/>
                    </a:lnTo>
                    <a:lnTo>
                      <a:pt x="644" y="6"/>
                    </a:lnTo>
                    <a:lnTo>
                      <a:pt x="646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Freeform 45">
                <a:extLst>
                  <a:ext uri="{FF2B5EF4-FFF2-40B4-BE49-F238E27FC236}">
                    <a16:creationId xmlns:a16="http://schemas.microsoft.com/office/drawing/2014/main" id="{04C99B6B-4F80-47F2-94E1-1C56CF30F5A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0" y="1489"/>
                <a:ext cx="331" cy="371"/>
              </a:xfrm>
              <a:custGeom>
                <a:avLst/>
                <a:gdLst>
                  <a:gd name="T0" fmla="*/ 28 w 330"/>
                  <a:gd name="T1" fmla="*/ 325 h 370"/>
                  <a:gd name="T2" fmla="*/ 44 w 330"/>
                  <a:gd name="T3" fmla="*/ 329 h 370"/>
                  <a:gd name="T4" fmla="*/ 56 w 330"/>
                  <a:gd name="T5" fmla="*/ 323 h 370"/>
                  <a:gd name="T6" fmla="*/ 78 w 330"/>
                  <a:gd name="T7" fmla="*/ 349 h 370"/>
                  <a:gd name="T8" fmla="*/ 106 w 330"/>
                  <a:gd name="T9" fmla="*/ 353 h 370"/>
                  <a:gd name="T10" fmla="*/ 128 w 330"/>
                  <a:gd name="T11" fmla="*/ 357 h 370"/>
                  <a:gd name="T12" fmla="*/ 148 w 330"/>
                  <a:gd name="T13" fmla="*/ 361 h 370"/>
                  <a:gd name="T14" fmla="*/ 160 w 330"/>
                  <a:gd name="T15" fmla="*/ 357 h 370"/>
                  <a:gd name="T16" fmla="*/ 169 w 330"/>
                  <a:gd name="T17" fmla="*/ 349 h 370"/>
                  <a:gd name="T18" fmla="*/ 183 w 330"/>
                  <a:gd name="T19" fmla="*/ 349 h 370"/>
                  <a:gd name="T20" fmla="*/ 199 w 330"/>
                  <a:gd name="T21" fmla="*/ 361 h 370"/>
                  <a:gd name="T22" fmla="*/ 211 w 330"/>
                  <a:gd name="T23" fmla="*/ 371 h 370"/>
                  <a:gd name="T24" fmla="*/ 229 w 330"/>
                  <a:gd name="T25" fmla="*/ 357 h 370"/>
                  <a:gd name="T26" fmla="*/ 235 w 330"/>
                  <a:gd name="T27" fmla="*/ 343 h 370"/>
                  <a:gd name="T28" fmla="*/ 241 w 330"/>
                  <a:gd name="T29" fmla="*/ 307 h 370"/>
                  <a:gd name="T30" fmla="*/ 255 w 330"/>
                  <a:gd name="T31" fmla="*/ 319 h 370"/>
                  <a:gd name="T32" fmla="*/ 261 w 330"/>
                  <a:gd name="T33" fmla="*/ 297 h 370"/>
                  <a:gd name="T34" fmla="*/ 275 w 330"/>
                  <a:gd name="T35" fmla="*/ 273 h 370"/>
                  <a:gd name="T36" fmla="*/ 281 w 330"/>
                  <a:gd name="T37" fmla="*/ 263 h 370"/>
                  <a:gd name="T38" fmla="*/ 297 w 330"/>
                  <a:gd name="T39" fmla="*/ 261 h 370"/>
                  <a:gd name="T40" fmla="*/ 313 w 330"/>
                  <a:gd name="T41" fmla="*/ 241 h 370"/>
                  <a:gd name="T42" fmla="*/ 325 w 330"/>
                  <a:gd name="T43" fmla="*/ 231 h 370"/>
                  <a:gd name="T44" fmla="*/ 321 w 330"/>
                  <a:gd name="T45" fmla="*/ 215 h 370"/>
                  <a:gd name="T46" fmla="*/ 325 w 330"/>
                  <a:gd name="T47" fmla="*/ 199 h 370"/>
                  <a:gd name="T48" fmla="*/ 317 w 330"/>
                  <a:gd name="T49" fmla="*/ 154 h 370"/>
                  <a:gd name="T50" fmla="*/ 323 w 330"/>
                  <a:gd name="T51" fmla="*/ 136 h 370"/>
                  <a:gd name="T52" fmla="*/ 331 w 330"/>
                  <a:gd name="T53" fmla="*/ 132 h 370"/>
                  <a:gd name="T54" fmla="*/ 271 w 330"/>
                  <a:gd name="T55" fmla="*/ 20 h 370"/>
                  <a:gd name="T56" fmla="*/ 247 w 330"/>
                  <a:gd name="T57" fmla="*/ 34 h 370"/>
                  <a:gd name="T58" fmla="*/ 219 w 330"/>
                  <a:gd name="T59" fmla="*/ 62 h 370"/>
                  <a:gd name="T60" fmla="*/ 201 w 330"/>
                  <a:gd name="T61" fmla="*/ 62 h 370"/>
                  <a:gd name="T62" fmla="*/ 177 w 330"/>
                  <a:gd name="T63" fmla="*/ 78 h 370"/>
                  <a:gd name="T64" fmla="*/ 154 w 330"/>
                  <a:gd name="T65" fmla="*/ 72 h 370"/>
                  <a:gd name="T66" fmla="*/ 146 w 330"/>
                  <a:gd name="T67" fmla="*/ 72 h 370"/>
                  <a:gd name="T68" fmla="*/ 146 w 330"/>
                  <a:gd name="T69" fmla="*/ 66 h 370"/>
                  <a:gd name="T70" fmla="*/ 112 w 330"/>
                  <a:gd name="T71" fmla="*/ 56 h 370"/>
                  <a:gd name="T72" fmla="*/ 96 w 330"/>
                  <a:gd name="T73" fmla="*/ 58 h 370"/>
                  <a:gd name="T74" fmla="*/ 0 w 330"/>
                  <a:gd name="T75" fmla="*/ 66 h 37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30" h="370">
                    <a:moveTo>
                      <a:pt x="0" y="66"/>
                    </a:moveTo>
                    <a:lnTo>
                      <a:pt x="28" y="324"/>
                    </a:lnTo>
                    <a:lnTo>
                      <a:pt x="36" y="324"/>
                    </a:lnTo>
                    <a:lnTo>
                      <a:pt x="44" y="328"/>
                    </a:lnTo>
                    <a:lnTo>
                      <a:pt x="48" y="328"/>
                    </a:lnTo>
                    <a:lnTo>
                      <a:pt x="56" y="322"/>
                    </a:lnTo>
                    <a:lnTo>
                      <a:pt x="72" y="334"/>
                    </a:lnTo>
                    <a:lnTo>
                      <a:pt x="78" y="348"/>
                    </a:lnTo>
                    <a:lnTo>
                      <a:pt x="90" y="354"/>
                    </a:lnTo>
                    <a:lnTo>
                      <a:pt x="106" y="352"/>
                    </a:lnTo>
                    <a:lnTo>
                      <a:pt x="122" y="364"/>
                    </a:lnTo>
                    <a:lnTo>
                      <a:pt x="128" y="356"/>
                    </a:lnTo>
                    <a:lnTo>
                      <a:pt x="134" y="354"/>
                    </a:lnTo>
                    <a:lnTo>
                      <a:pt x="148" y="360"/>
                    </a:lnTo>
                    <a:lnTo>
                      <a:pt x="158" y="358"/>
                    </a:lnTo>
                    <a:lnTo>
                      <a:pt x="160" y="356"/>
                    </a:lnTo>
                    <a:lnTo>
                      <a:pt x="166" y="354"/>
                    </a:lnTo>
                    <a:lnTo>
                      <a:pt x="168" y="348"/>
                    </a:lnTo>
                    <a:lnTo>
                      <a:pt x="178" y="342"/>
                    </a:lnTo>
                    <a:lnTo>
                      <a:pt x="182" y="348"/>
                    </a:lnTo>
                    <a:lnTo>
                      <a:pt x="190" y="360"/>
                    </a:lnTo>
                    <a:lnTo>
                      <a:pt x="198" y="360"/>
                    </a:lnTo>
                    <a:lnTo>
                      <a:pt x="208" y="368"/>
                    </a:lnTo>
                    <a:lnTo>
                      <a:pt x="210" y="370"/>
                    </a:lnTo>
                    <a:lnTo>
                      <a:pt x="220" y="370"/>
                    </a:lnTo>
                    <a:lnTo>
                      <a:pt x="228" y="356"/>
                    </a:lnTo>
                    <a:lnTo>
                      <a:pt x="234" y="352"/>
                    </a:lnTo>
                    <a:lnTo>
                      <a:pt x="234" y="342"/>
                    </a:lnTo>
                    <a:lnTo>
                      <a:pt x="234" y="330"/>
                    </a:lnTo>
                    <a:lnTo>
                      <a:pt x="240" y="306"/>
                    </a:lnTo>
                    <a:lnTo>
                      <a:pt x="246" y="306"/>
                    </a:lnTo>
                    <a:lnTo>
                      <a:pt x="254" y="318"/>
                    </a:lnTo>
                    <a:lnTo>
                      <a:pt x="262" y="308"/>
                    </a:lnTo>
                    <a:lnTo>
                      <a:pt x="260" y="296"/>
                    </a:lnTo>
                    <a:lnTo>
                      <a:pt x="268" y="280"/>
                    </a:lnTo>
                    <a:lnTo>
                      <a:pt x="274" y="272"/>
                    </a:lnTo>
                    <a:lnTo>
                      <a:pt x="274" y="268"/>
                    </a:lnTo>
                    <a:lnTo>
                      <a:pt x="280" y="262"/>
                    </a:lnTo>
                    <a:lnTo>
                      <a:pt x="288" y="264"/>
                    </a:lnTo>
                    <a:lnTo>
                      <a:pt x="296" y="260"/>
                    </a:lnTo>
                    <a:lnTo>
                      <a:pt x="298" y="258"/>
                    </a:lnTo>
                    <a:lnTo>
                      <a:pt x="312" y="240"/>
                    </a:lnTo>
                    <a:lnTo>
                      <a:pt x="316" y="238"/>
                    </a:lnTo>
                    <a:lnTo>
                      <a:pt x="324" y="230"/>
                    </a:lnTo>
                    <a:lnTo>
                      <a:pt x="322" y="220"/>
                    </a:lnTo>
                    <a:lnTo>
                      <a:pt x="320" y="214"/>
                    </a:lnTo>
                    <a:lnTo>
                      <a:pt x="320" y="206"/>
                    </a:lnTo>
                    <a:lnTo>
                      <a:pt x="324" y="198"/>
                    </a:lnTo>
                    <a:lnTo>
                      <a:pt x="330" y="162"/>
                    </a:lnTo>
                    <a:lnTo>
                      <a:pt x="316" y="154"/>
                    </a:lnTo>
                    <a:lnTo>
                      <a:pt x="326" y="146"/>
                    </a:lnTo>
                    <a:lnTo>
                      <a:pt x="322" y="136"/>
                    </a:lnTo>
                    <a:lnTo>
                      <a:pt x="328" y="130"/>
                    </a:lnTo>
                    <a:lnTo>
                      <a:pt x="330" y="132"/>
                    </a:lnTo>
                    <a:lnTo>
                      <a:pt x="308" y="0"/>
                    </a:lnTo>
                    <a:lnTo>
                      <a:pt x="270" y="20"/>
                    </a:lnTo>
                    <a:lnTo>
                      <a:pt x="254" y="30"/>
                    </a:lnTo>
                    <a:lnTo>
                      <a:pt x="246" y="34"/>
                    </a:lnTo>
                    <a:lnTo>
                      <a:pt x="224" y="58"/>
                    </a:lnTo>
                    <a:lnTo>
                      <a:pt x="218" y="62"/>
                    </a:lnTo>
                    <a:lnTo>
                      <a:pt x="212" y="62"/>
                    </a:lnTo>
                    <a:lnTo>
                      <a:pt x="200" y="62"/>
                    </a:lnTo>
                    <a:lnTo>
                      <a:pt x="194" y="64"/>
                    </a:lnTo>
                    <a:lnTo>
                      <a:pt x="176" y="78"/>
                    </a:lnTo>
                    <a:lnTo>
                      <a:pt x="168" y="76"/>
                    </a:lnTo>
                    <a:lnTo>
                      <a:pt x="154" y="72"/>
                    </a:lnTo>
                    <a:lnTo>
                      <a:pt x="150" y="74"/>
                    </a:lnTo>
                    <a:lnTo>
                      <a:pt x="146" y="72"/>
                    </a:lnTo>
                    <a:lnTo>
                      <a:pt x="150" y="66"/>
                    </a:lnTo>
                    <a:lnTo>
                      <a:pt x="146" y="66"/>
                    </a:lnTo>
                    <a:lnTo>
                      <a:pt x="136" y="64"/>
                    </a:lnTo>
                    <a:lnTo>
                      <a:pt x="112" y="56"/>
                    </a:lnTo>
                    <a:lnTo>
                      <a:pt x="108" y="56"/>
                    </a:lnTo>
                    <a:lnTo>
                      <a:pt x="96" y="58"/>
                    </a:lnTo>
                    <a:lnTo>
                      <a:pt x="96" y="52"/>
                    </a:lnTo>
                    <a:lnTo>
                      <a:pt x="0" y="6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" name="Freeform 46">
                <a:extLst>
                  <a:ext uri="{FF2B5EF4-FFF2-40B4-BE49-F238E27FC236}">
                    <a16:creationId xmlns:a16="http://schemas.microsoft.com/office/drawing/2014/main" id="{7190C8CC-CC40-4FF4-896D-941D2D4F4A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23" y="1958"/>
                <a:ext cx="699" cy="301"/>
              </a:xfrm>
              <a:custGeom>
                <a:avLst/>
                <a:gdLst>
                  <a:gd name="T0" fmla="*/ 10 w 694"/>
                  <a:gd name="T1" fmla="*/ 243 h 300"/>
                  <a:gd name="T2" fmla="*/ 20 w 694"/>
                  <a:gd name="T3" fmla="*/ 231 h 300"/>
                  <a:gd name="T4" fmla="*/ 28 w 694"/>
                  <a:gd name="T5" fmla="*/ 213 h 300"/>
                  <a:gd name="T6" fmla="*/ 83 w 694"/>
                  <a:gd name="T7" fmla="*/ 185 h 300"/>
                  <a:gd name="T8" fmla="*/ 103 w 694"/>
                  <a:gd name="T9" fmla="*/ 161 h 300"/>
                  <a:gd name="T10" fmla="*/ 115 w 694"/>
                  <a:gd name="T11" fmla="*/ 157 h 300"/>
                  <a:gd name="T12" fmla="*/ 125 w 694"/>
                  <a:gd name="T13" fmla="*/ 148 h 300"/>
                  <a:gd name="T14" fmla="*/ 137 w 694"/>
                  <a:gd name="T15" fmla="*/ 144 h 300"/>
                  <a:gd name="T16" fmla="*/ 165 w 694"/>
                  <a:gd name="T17" fmla="*/ 134 h 300"/>
                  <a:gd name="T18" fmla="*/ 191 w 694"/>
                  <a:gd name="T19" fmla="*/ 98 h 300"/>
                  <a:gd name="T20" fmla="*/ 193 w 694"/>
                  <a:gd name="T21" fmla="*/ 78 h 300"/>
                  <a:gd name="T22" fmla="*/ 214 w 694"/>
                  <a:gd name="T23" fmla="*/ 76 h 300"/>
                  <a:gd name="T24" fmla="*/ 248 w 694"/>
                  <a:gd name="T25" fmla="*/ 72 h 300"/>
                  <a:gd name="T26" fmla="*/ 661 w 694"/>
                  <a:gd name="T27" fmla="*/ 4 h 300"/>
                  <a:gd name="T28" fmla="*/ 671 w 694"/>
                  <a:gd name="T29" fmla="*/ 12 h 300"/>
                  <a:gd name="T30" fmla="*/ 683 w 694"/>
                  <a:gd name="T31" fmla="*/ 30 h 300"/>
                  <a:gd name="T32" fmla="*/ 679 w 694"/>
                  <a:gd name="T33" fmla="*/ 32 h 300"/>
                  <a:gd name="T34" fmla="*/ 667 w 694"/>
                  <a:gd name="T35" fmla="*/ 32 h 300"/>
                  <a:gd name="T36" fmla="*/ 663 w 694"/>
                  <a:gd name="T37" fmla="*/ 34 h 300"/>
                  <a:gd name="T38" fmla="*/ 639 w 694"/>
                  <a:gd name="T39" fmla="*/ 50 h 300"/>
                  <a:gd name="T40" fmla="*/ 616 w 694"/>
                  <a:gd name="T41" fmla="*/ 66 h 300"/>
                  <a:gd name="T42" fmla="*/ 624 w 694"/>
                  <a:gd name="T43" fmla="*/ 68 h 300"/>
                  <a:gd name="T44" fmla="*/ 657 w 694"/>
                  <a:gd name="T45" fmla="*/ 54 h 300"/>
                  <a:gd name="T46" fmla="*/ 669 w 694"/>
                  <a:gd name="T47" fmla="*/ 64 h 300"/>
                  <a:gd name="T48" fmla="*/ 677 w 694"/>
                  <a:gd name="T49" fmla="*/ 68 h 300"/>
                  <a:gd name="T50" fmla="*/ 691 w 694"/>
                  <a:gd name="T51" fmla="*/ 54 h 300"/>
                  <a:gd name="T52" fmla="*/ 699 w 694"/>
                  <a:gd name="T53" fmla="*/ 84 h 300"/>
                  <a:gd name="T54" fmla="*/ 687 w 694"/>
                  <a:gd name="T55" fmla="*/ 102 h 300"/>
                  <a:gd name="T56" fmla="*/ 671 w 694"/>
                  <a:gd name="T57" fmla="*/ 114 h 300"/>
                  <a:gd name="T58" fmla="*/ 647 w 694"/>
                  <a:gd name="T59" fmla="*/ 116 h 300"/>
                  <a:gd name="T60" fmla="*/ 643 w 694"/>
                  <a:gd name="T61" fmla="*/ 110 h 300"/>
                  <a:gd name="T62" fmla="*/ 637 w 694"/>
                  <a:gd name="T63" fmla="*/ 104 h 300"/>
                  <a:gd name="T64" fmla="*/ 635 w 694"/>
                  <a:gd name="T65" fmla="*/ 122 h 300"/>
                  <a:gd name="T66" fmla="*/ 643 w 694"/>
                  <a:gd name="T67" fmla="*/ 128 h 300"/>
                  <a:gd name="T68" fmla="*/ 647 w 694"/>
                  <a:gd name="T69" fmla="*/ 144 h 300"/>
                  <a:gd name="T70" fmla="*/ 618 w 694"/>
                  <a:gd name="T71" fmla="*/ 163 h 300"/>
                  <a:gd name="T72" fmla="*/ 616 w 694"/>
                  <a:gd name="T73" fmla="*/ 169 h 300"/>
                  <a:gd name="T74" fmla="*/ 657 w 694"/>
                  <a:gd name="T75" fmla="*/ 157 h 300"/>
                  <a:gd name="T76" fmla="*/ 669 w 694"/>
                  <a:gd name="T77" fmla="*/ 159 h 300"/>
                  <a:gd name="T78" fmla="*/ 637 w 694"/>
                  <a:gd name="T79" fmla="*/ 187 h 300"/>
                  <a:gd name="T80" fmla="*/ 602 w 694"/>
                  <a:gd name="T81" fmla="*/ 213 h 300"/>
                  <a:gd name="T82" fmla="*/ 596 w 694"/>
                  <a:gd name="T83" fmla="*/ 219 h 300"/>
                  <a:gd name="T84" fmla="*/ 564 w 694"/>
                  <a:gd name="T85" fmla="*/ 259 h 300"/>
                  <a:gd name="T86" fmla="*/ 546 w 694"/>
                  <a:gd name="T87" fmla="*/ 293 h 300"/>
                  <a:gd name="T88" fmla="*/ 403 w 694"/>
                  <a:gd name="T89" fmla="*/ 227 h 300"/>
                  <a:gd name="T90" fmla="*/ 294 w 694"/>
                  <a:gd name="T91" fmla="*/ 213 h 300"/>
                  <a:gd name="T92" fmla="*/ 286 w 694"/>
                  <a:gd name="T93" fmla="*/ 211 h 300"/>
                  <a:gd name="T94" fmla="*/ 175 w 694"/>
                  <a:gd name="T95" fmla="*/ 219 h 300"/>
                  <a:gd name="T96" fmla="*/ 153 w 694"/>
                  <a:gd name="T97" fmla="*/ 237 h 300"/>
                  <a:gd name="T98" fmla="*/ 0 w 694"/>
                  <a:gd name="T99" fmla="*/ 267 h 30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694" h="300">
                    <a:moveTo>
                      <a:pt x="0" y="266"/>
                    </a:moveTo>
                    <a:lnTo>
                      <a:pt x="2" y="242"/>
                    </a:lnTo>
                    <a:lnTo>
                      <a:pt x="10" y="242"/>
                    </a:lnTo>
                    <a:lnTo>
                      <a:pt x="14" y="242"/>
                    </a:lnTo>
                    <a:lnTo>
                      <a:pt x="20" y="236"/>
                    </a:lnTo>
                    <a:lnTo>
                      <a:pt x="20" y="230"/>
                    </a:lnTo>
                    <a:lnTo>
                      <a:pt x="20" y="224"/>
                    </a:lnTo>
                    <a:lnTo>
                      <a:pt x="22" y="218"/>
                    </a:lnTo>
                    <a:lnTo>
                      <a:pt x="28" y="212"/>
                    </a:lnTo>
                    <a:lnTo>
                      <a:pt x="44" y="204"/>
                    </a:lnTo>
                    <a:lnTo>
                      <a:pt x="64" y="200"/>
                    </a:lnTo>
                    <a:lnTo>
                      <a:pt x="82" y="184"/>
                    </a:lnTo>
                    <a:lnTo>
                      <a:pt x="88" y="180"/>
                    </a:lnTo>
                    <a:lnTo>
                      <a:pt x="100" y="170"/>
                    </a:lnTo>
                    <a:lnTo>
                      <a:pt x="102" y="160"/>
                    </a:lnTo>
                    <a:lnTo>
                      <a:pt x="106" y="160"/>
                    </a:lnTo>
                    <a:lnTo>
                      <a:pt x="110" y="160"/>
                    </a:lnTo>
                    <a:lnTo>
                      <a:pt x="114" y="156"/>
                    </a:lnTo>
                    <a:lnTo>
                      <a:pt x="114" y="154"/>
                    </a:lnTo>
                    <a:lnTo>
                      <a:pt x="120" y="148"/>
                    </a:lnTo>
                    <a:lnTo>
                      <a:pt x="124" y="148"/>
                    </a:lnTo>
                    <a:lnTo>
                      <a:pt x="128" y="152"/>
                    </a:lnTo>
                    <a:lnTo>
                      <a:pt x="134" y="148"/>
                    </a:lnTo>
                    <a:lnTo>
                      <a:pt x="136" y="144"/>
                    </a:lnTo>
                    <a:lnTo>
                      <a:pt x="144" y="136"/>
                    </a:lnTo>
                    <a:lnTo>
                      <a:pt x="152" y="134"/>
                    </a:lnTo>
                    <a:lnTo>
                      <a:pt x="164" y="134"/>
                    </a:lnTo>
                    <a:lnTo>
                      <a:pt x="178" y="112"/>
                    </a:lnTo>
                    <a:lnTo>
                      <a:pt x="188" y="104"/>
                    </a:lnTo>
                    <a:lnTo>
                      <a:pt x="190" y="98"/>
                    </a:lnTo>
                    <a:lnTo>
                      <a:pt x="192" y="92"/>
                    </a:lnTo>
                    <a:lnTo>
                      <a:pt x="190" y="84"/>
                    </a:lnTo>
                    <a:lnTo>
                      <a:pt x="192" y="78"/>
                    </a:lnTo>
                    <a:lnTo>
                      <a:pt x="192" y="76"/>
                    </a:lnTo>
                    <a:lnTo>
                      <a:pt x="214" y="72"/>
                    </a:lnTo>
                    <a:lnTo>
                      <a:pt x="212" y="76"/>
                    </a:lnTo>
                    <a:lnTo>
                      <a:pt x="234" y="74"/>
                    </a:lnTo>
                    <a:lnTo>
                      <a:pt x="242" y="72"/>
                    </a:lnTo>
                    <a:lnTo>
                      <a:pt x="246" y="72"/>
                    </a:lnTo>
                    <a:lnTo>
                      <a:pt x="454" y="38"/>
                    </a:lnTo>
                    <a:lnTo>
                      <a:pt x="652" y="0"/>
                    </a:lnTo>
                    <a:lnTo>
                      <a:pt x="656" y="4"/>
                    </a:lnTo>
                    <a:lnTo>
                      <a:pt x="658" y="8"/>
                    </a:lnTo>
                    <a:lnTo>
                      <a:pt x="664" y="10"/>
                    </a:lnTo>
                    <a:lnTo>
                      <a:pt x="666" y="12"/>
                    </a:lnTo>
                    <a:lnTo>
                      <a:pt x="670" y="16"/>
                    </a:lnTo>
                    <a:lnTo>
                      <a:pt x="672" y="20"/>
                    </a:lnTo>
                    <a:lnTo>
                      <a:pt x="678" y="30"/>
                    </a:lnTo>
                    <a:lnTo>
                      <a:pt x="676" y="32"/>
                    </a:lnTo>
                    <a:lnTo>
                      <a:pt x="674" y="32"/>
                    </a:lnTo>
                    <a:lnTo>
                      <a:pt x="672" y="30"/>
                    </a:lnTo>
                    <a:lnTo>
                      <a:pt x="666" y="32"/>
                    </a:lnTo>
                    <a:lnTo>
                      <a:pt x="662" y="32"/>
                    </a:lnTo>
                    <a:lnTo>
                      <a:pt x="658" y="30"/>
                    </a:lnTo>
                    <a:lnTo>
                      <a:pt x="656" y="30"/>
                    </a:lnTo>
                    <a:lnTo>
                      <a:pt x="658" y="34"/>
                    </a:lnTo>
                    <a:lnTo>
                      <a:pt x="656" y="36"/>
                    </a:lnTo>
                    <a:lnTo>
                      <a:pt x="638" y="46"/>
                    </a:lnTo>
                    <a:lnTo>
                      <a:pt x="634" y="50"/>
                    </a:lnTo>
                    <a:lnTo>
                      <a:pt x="628" y="56"/>
                    </a:lnTo>
                    <a:lnTo>
                      <a:pt x="616" y="58"/>
                    </a:lnTo>
                    <a:lnTo>
                      <a:pt x="612" y="66"/>
                    </a:lnTo>
                    <a:lnTo>
                      <a:pt x="612" y="68"/>
                    </a:lnTo>
                    <a:lnTo>
                      <a:pt x="614" y="70"/>
                    </a:lnTo>
                    <a:lnTo>
                      <a:pt x="620" y="68"/>
                    </a:lnTo>
                    <a:lnTo>
                      <a:pt x="632" y="62"/>
                    </a:lnTo>
                    <a:lnTo>
                      <a:pt x="644" y="58"/>
                    </a:lnTo>
                    <a:lnTo>
                      <a:pt x="652" y="54"/>
                    </a:lnTo>
                    <a:lnTo>
                      <a:pt x="664" y="54"/>
                    </a:lnTo>
                    <a:lnTo>
                      <a:pt x="664" y="56"/>
                    </a:lnTo>
                    <a:lnTo>
                      <a:pt x="664" y="64"/>
                    </a:lnTo>
                    <a:lnTo>
                      <a:pt x="664" y="66"/>
                    </a:lnTo>
                    <a:lnTo>
                      <a:pt x="668" y="70"/>
                    </a:lnTo>
                    <a:lnTo>
                      <a:pt x="672" y="68"/>
                    </a:lnTo>
                    <a:lnTo>
                      <a:pt x="674" y="64"/>
                    </a:lnTo>
                    <a:lnTo>
                      <a:pt x="682" y="54"/>
                    </a:lnTo>
                    <a:lnTo>
                      <a:pt x="686" y="54"/>
                    </a:lnTo>
                    <a:lnTo>
                      <a:pt x="692" y="64"/>
                    </a:lnTo>
                    <a:lnTo>
                      <a:pt x="692" y="80"/>
                    </a:lnTo>
                    <a:lnTo>
                      <a:pt x="694" y="84"/>
                    </a:lnTo>
                    <a:lnTo>
                      <a:pt x="694" y="88"/>
                    </a:lnTo>
                    <a:lnTo>
                      <a:pt x="684" y="96"/>
                    </a:lnTo>
                    <a:lnTo>
                      <a:pt x="682" y="102"/>
                    </a:lnTo>
                    <a:lnTo>
                      <a:pt x="680" y="106"/>
                    </a:lnTo>
                    <a:lnTo>
                      <a:pt x="672" y="112"/>
                    </a:lnTo>
                    <a:lnTo>
                      <a:pt x="666" y="114"/>
                    </a:lnTo>
                    <a:lnTo>
                      <a:pt x="660" y="118"/>
                    </a:lnTo>
                    <a:lnTo>
                      <a:pt x="646" y="116"/>
                    </a:lnTo>
                    <a:lnTo>
                      <a:pt x="642" y="116"/>
                    </a:lnTo>
                    <a:lnTo>
                      <a:pt x="640" y="116"/>
                    </a:lnTo>
                    <a:lnTo>
                      <a:pt x="638" y="110"/>
                    </a:lnTo>
                    <a:lnTo>
                      <a:pt x="638" y="108"/>
                    </a:lnTo>
                    <a:lnTo>
                      <a:pt x="636" y="106"/>
                    </a:lnTo>
                    <a:lnTo>
                      <a:pt x="632" y="104"/>
                    </a:lnTo>
                    <a:lnTo>
                      <a:pt x="630" y="106"/>
                    </a:lnTo>
                    <a:lnTo>
                      <a:pt x="632" y="120"/>
                    </a:lnTo>
                    <a:lnTo>
                      <a:pt x="630" y="122"/>
                    </a:lnTo>
                    <a:lnTo>
                      <a:pt x="628" y="120"/>
                    </a:lnTo>
                    <a:lnTo>
                      <a:pt x="632" y="128"/>
                    </a:lnTo>
                    <a:lnTo>
                      <a:pt x="638" y="128"/>
                    </a:lnTo>
                    <a:lnTo>
                      <a:pt x="642" y="134"/>
                    </a:lnTo>
                    <a:lnTo>
                      <a:pt x="638" y="140"/>
                    </a:lnTo>
                    <a:lnTo>
                      <a:pt x="642" y="144"/>
                    </a:lnTo>
                    <a:lnTo>
                      <a:pt x="626" y="162"/>
                    </a:lnTo>
                    <a:lnTo>
                      <a:pt x="622" y="164"/>
                    </a:lnTo>
                    <a:lnTo>
                      <a:pt x="614" y="162"/>
                    </a:lnTo>
                    <a:lnTo>
                      <a:pt x="608" y="162"/>
                    </a:lnTo>
                    <a:lnTo>
                      <a:pt x="606" y="164"/>
                    </a:lnTo>
                    <a:lnTo>
                      <a:pt x="612" y="168"/>
                    </a:lnTo>
                    <a:lnTo>
                      <a:pt x="628" y="166"/>
                    </a:lnTo>
                    <a:lnTo>
                      <a:pt x="638" y="164"/>
                    </a:lnTo>
                    <a:lnTo>
                      <a:pt x="652" y="156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64" y="158"/>
                    </a:lnTo>
                    <a:lnTo>
                      <a:pt x="658" y="170"/>
                    </a:lnTo>
                    <a:lnTo>
                      <a:pt x="646" y="184"/>
                    </a:lnTo>
                    <a:lnTo>
                      <a:pt x="632" y="186"/>
                    </a:lnTo>
                    <a:lnTo>
                      <a:pt x="628" y="188"/>
                    </a:lnTo>
                    <a:lnTo>
                      <a:pt x="612" y="190"/>
                    </a:lnTo>
                    <a:lnTo>
                      <a:pt x="598" y="212"/>
                    </a:lnTo>
                    <a:lnTo>
                      <a:pt x="592" y="214"/>
                    </a:lnTo>
                    <a:lnTo>
                      <a:pt x="592" y="218"/>
                    </a:lnTo>
                    <a:lnTo>
                      <a:pt x="576" y="228"/>
                    </a:lnTo>
                    <a:lnTo>
                      <a:pt x="568" y="240"/>
                    </a:lnTo>
                    <a:lnTo>
                      <a:pt x="560" y="258"/>
                    </a:lnTo>
                    <a:lnTo>
                      <a:pt x="556" y="282"/>
                    </a:lnTo>
                    <a:lnTo>
                      <a:pt x="552" y="288"/>
                    </a:lnTo>
                    <a:lnTo>
                      <a:pt x="542" y="292"/>
                    </a:lnTo>
                    <a:lnTo>
                      <a:pt x="510" y="296"/>
                    </a:lnTo>
                    <a:lnTo>
                      <a:pt x="508" y="300"/>
                    </a:lnTo>
                    <a:lnTo>
                      <a:pt x="400" y="226"/>
                    </a:lnTo>
                    <a:lnTo>
                      <a:pt x="312" y="238"/>
                    </a:lnTo>
                    <a:lnTo>
                      <a:pt x="310" y="226"/>
                    </a:lnTo>
                    <a:lnTo>
                      <a:pt x="292" y="212"/>
                    </a:lnTo>
                    <a:lnTo>
                      <a:pt x="286" y="218"/>
                    </a:lnTo>
                    <a:lnTo>
                      <a:pt x="282" y="214"/>
                    </a:lnTo>
                    <a:lnTo>
                      <a:pt x="284" y="210"/>
                    </a:lnTo>
                    <a:lnTo>
                      <a:pt x="282" y="208"/>
                    </a:lnTo>
                    <a:lnTo>
                      <a:pt x="178" y="220"/>
                    </a:lnTo>
                    <a:lnTo>
                      <a:pt x="174" y="218"/>
                    </a:lnTo>
                    <a:lnTo>
                      <a:pt x="172" y="222"/>
                    </a:lnTo>
                    <a:lnTo>
                      <a:pt x="152" y="232"/>
                    </a:lnTo>
                    <a:lnTo>
                      <a:pt x="152" y="236"/>
                    </a:lnTo>
                    <a:lnTo>
                      <a:pt x="144" y="236"/>
                    </a:lnTo>
                    <a:lnTo>
                      <a:pt x="120" y="248"/>
                    </a:lnTo>
                    <a:lnTo>
                      <a:pt x="0" y="26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Freeform 47">
                <a:extLst>
                  <a:ext uri="{FF2B5EF4-FFF2-40B4-BE49-F238E27FC236}">
                    <a16:creationId xmlns:a16="http://schemas.microsoft.com/office/drawing/2014/main" id="{D9FABBA0-1193-49DA-BC19-061AC8B206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39" y="1619"/>
                <a:ext cx="356" cy="351"/>
              </a:xfrm>
              <a:custGeom>
                <a:avLst/>
                <a:gdLst>
                  <a:gd name="T0" fmla="*/ 119 w 354"/>
                  <a:gd name="T1" fmla="*/ 0 h 350"/>
                  <a:gd name="T2" fmla="*/ 117 w 354"/>
                  <a:gd name="T3" fmla="*/ 16 h 350"/>
                  <a:gd name="T4" fmla="*/ 121 w 354"/>
                  <a:gd name="T5" fmla="*/ 32 h 350"/>
                  <a:gd name="T6" fmla="*/ 111 w 354"/>
                  <a:gd name="T7" fmla="*/ 76 h 350"/>
                  <a:gd name="T8" fmla="*/ 113 w 354"/>
                  <a:gd name="T9" fmla="*/ 90 h 350"/>
                  <a:gd name="T10" fmla="*/ 107 w 354"/>
                  <a:gd name="T11" fmla="*/ 108 h 350"/>
                  <a:gd name="T12" fmla="*/ 88 w 354"/>
                  <a:gd name="T13" fmla="*/ 128 h 350"/>
                  <a:gd name="T14" fmla="*/ 78 w 354"/>
                  <a:gd name="T15" fmla="*/ 134 h 350"/>
                  <a:gd name="T16" fmla="*/ 64 w 354"/>
                  <a:gd name="T17" fmla="*/ 138 h 350"/>
                  <a:gd name="T18" fmla="*/ 58 w 354"/>
                  <a:gd name="T19" fmla="*/ 150 h 350"/>
                  <a:gd name="T20" fmla="*/ 52 w 354"/>
                  <a:gd name="T21" fmla="*/ 179 h 350"/>
                  <a:gd name="T22" fmla="*/ 36 w 354"/>
                  <a:gd name="T23" fmla="*/ 177 h 350"/>
                  <a:gd name="T24" fmla="*/ 24 w 354"/>
                  <a:gd name="T25" fmla="*/ 201 h 350"/>
                  <a:gd name="T26" fmla="*/ 24 w 354"/>
                  <a:gd name="T27" fmla="*/ 223 h 350"/>
                  <a:gd name="T28" fmla="*/ 10 w 354"/>
                  <a:gd name="T29" fmla="*/ 241 h 350"/>
                  <a:gd name="T30" fmla="*/ 2 w 354"/>
                  <a:gd name="T31" fmla="*/ 255 h 350"/>
                  <a:gd name="T32" fmla="*/ 2 w 354"/>
                  <a:gd name="T33" fmla="*/ 269 h 350"/>
                  <a:gd name="T34" fmla="*/ 20 w 354"/>
                  <a:gd name="T35" fmla="*/ 295 h 350"/>
                  <a:gd name="T36" fmla="*/ 32 w 354"/>
                  <a:gd name="T37" fmla="*/ 313 h 350"/>
                  <a:gd name="T38" fmla="*/ 44 w 354"/>
                  <a:gd name="T39" fmla="*/ 315 h 350"/>
                  <a:gd name="T40" fmla="*/ 48 w 354"/>
                  <a:gd name="T41" fmla="*/ 319 h 350"/>
                  <a:gd name="T42" fmla="*/ 60 w 354"/>
                  <a:gd name="T43" fmla="*/ 323 h 350"/>
                  <a:gd name="T44" fmla="*/ 60 w 354"/>
                  <a:gd name="T45" fmla="*/ 333 h 350"/>
                  <a:gd name="T46" fmla="*/ 88 w 354"/>
                  <a:gd name="T47" fmla="*/ 351 h 350"/>
                  <a:gd name="T48" fmla="*/ 107 w 354"/>
                  <a:gd name="T49" fmla="*/ 345 h 350"/>
                  <a:gd name="T50" fmla="*/ 113 w 354"/>
                  <a:gd name="T51" fmla="*/ 335 h 350"/>
                  <a:gd name="T52" fmla="*/ 123 w 354"/>
                  <a:gd name="T53" fmla="*/ 343 h 350"/>
                  <a:gd name="T54" fmla="*/ 149 w 354"/>
                  <a:gd name="T55" fmla="*/ 333 h 350"/>
                  <a:gd name="T56" fmla="*/ 155 w 354"/>
                  <a:gd name="T57" fmla="*/ 321 h 350"/>
                  <a:gd name="T58" fmla="*/ 175 w 354"/>
                  <a:gd name="T59" fmla="*/ 311 h 350"/>
                  <a:gd name="T60" fmla="*/ 193 w 354"/>
                  <a:gd name="T61" fmla="*/ 297 h 350"/>
                  <a:gd name="T62" fmla="*/ 191 w 354"/>
                  <a:gd name="T63" fmla="*/ 279 h 350"/>
                  <a:gd name="T64" fmla="*/ 221 w 354"/>
                  <a:gd name="T65" fmla="*/ 189 h 350"/>
                  <a:gd name="T66" fmla="*/ 235 w 354"/>
                  <a:gd name="T67" fmla="*/ 195 h 350"/>
                  <a:gd name="T68" fmla="*/ 241 w 354"/>
                  <a:gd name="T69" fmla="*/ 203 h 350"/>
                  <a:gd name="T70" fmla="*/ 257 w 354"/>
                  <a:gd name="T71" fmla="*/ 191 h 350"/>
                  <a:gd name="T72" fmla="*/ 270 w 354"/>
                  <a:gd name="T73" fmla="*/ 156 h 350"/>
                  <a:gd name="T74" fmla="*/ 286 w 354"/>
                  <a:gd name="T75" fmla="*/ 146 h 350"/>
                  <a:gd name="T76" fmla="*/ 296 w 354"/>
                  <a:gd name="T77" fmla="*/ 136 h 350"/>
                  <a:gd name="T78" fmla="*/ 306 w 354"/>
                  <a:gd name="T79" fmla="*/ 120 h 350"/>
                  <a:gd name="T80" fmla="*/ 304 w 354"/>
                  <a:gd name="T81" fmla="*/ 114 h 350"/>
                  <a:gd name="T82" fmla="*/ 306 w 354"/>
                  <a:gd name="T83" fmla="*/ 90 h 350"/>
                  <a:gd name="T84" fmla="*/ 346 w 354"/>
                  <a:gd name="T85" fmla="*/ 110 h 350"/>
                  <a:gd name="T86" fmla="*/ 352 w 354"/>
                  <a:gd name="T87" fmla="*/ 110 h 350"/>
                  <a:gd name="T88" fmla="*/ 356 w 354"/>
                  <a:gd name="T89" fmla="*/ 92 h 350"/>
                  <a:gd name="T90" fmla="*/ 344 w 354"/>
                  <a:gd name="T91" fmla="*/ 72 h 350"/>
                  <a:gd name="T92" fmla="*/ 334 w 354"/>
                  <a:gd name="T93" fmla="*/ 68 h 350"/>
                  <a:gd name="T94" fmla="*/ 322 w 354"/>
                  <a:gd name="T95" fmla="*/ 64 h 350"/>
                  <a:gd name="T96" fmla="*/ 296 w 354"/>
                  <a:gd name="T97" fmla="*/ 78 h 350"/>
                  <a:gd name="T98" fmla="*/ 276 w 354"/>
                  <a:gd name="T99" fmla="*/ 80 h 350"/>
                  <a:gd name="T100" fmla="*/ 268 w 354"/>
                  <a:gd name="T101" fmla="*/ 84 h 350"/>
                  <a:gd name="T102" fmla="*/ 255 w 354"/>
                  <a:gd name="T103" fmla="*/ 96 h 350"/>
                  <a:gd name="T104" fmla="*/ 233 w 354"/>
                  <a:gd name="T105" fmla="*/ 116 h 350"/>
                  <a:gd name="T106" fmla="*/ 225 w 354"/>
                  <a:gd name="T107" fmla="*/ 126 h 350"/>
                  <a:gd name="T108" fmla="*/ 137 w 354"/>
                  <a:gd name="T109" fmla="*/ 90 h 35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354" h="350">
                    <a:moveTo>
                      <a:pt x="120" y="2"/>
                    </a:moveTo>
                    <a:lnTo>
                      <a:pt x="118" y="0"/>
                    </a:lnTo>
                    <a:lnTo>
                      <a:pt x="112" y="6"/>
                    </a:lnTo>
                    <a:lnTo>
                      <a:pt x="116" y="16"/>
                    </a:lnTo>
                    <a:lnTo>
                      <a:pt x="106" y="24"/>
                    </a:lnTo>
                    <a:lnTo>
                      <a:pt x="120" y="32"/>
                    </a:lnTo>
                    <a:lnTo>
                      <a:pt x="114" y="68"/>
                    </a:lnTo>
                    <a:lnTo>
                      <a:pt x="110" y="76"/>
                    </a:lnTo>
                    <a:lnTo>
                      <a:pt x="110" y="84"/>
                    </a:lnTo>
                    <a:lnTo>
                      <a:pt x="112" y="90"/>
                    </a:lnTo>
                    <a:lnTo>
                      <a:pt x="114" y="100"/>
                    </a:lnTo>
                    <a:lnTo>
                      <a:pt x="106" y="108"/>
                    </a:lnTo>
                    <a:lnTo>
                      <a:pt x="102" y="110"/>
                    </a:lnTo>
                    <a:lnTo>
                      <a:pt x="88" y="128"/>
                    </a:lnTo>
                    <a:lnTo>
                      <a:pt x="86" y="130"/>
                    </a:lnTo>
                    <a:lnTo>
                      <a:pt x="78" y="134"/>
                    </a:lnTo>
                    <a:lnTo>
                      <a:pt x="70" y="132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58" y="150"/>
                    </a:lnTo>
                    <a:lnTo>
                      <a:pt x="50" y="166"/>
                    </a:lnTo>
                    <a:lnTo>
                      <a:pt x="52" y="178"/>
                    </a:lnTo>
                    <a:lnTo>
                      <a:pt x="44" y="188"/>
                    </a:lnTo>
                    <a:lnTo>
                      <a:pt x="36" y="176"/>
                    </a:lnTo>
                    <a:lnTo>
                      <a:pt x="30" y="176"/>
                    </a:lnTo>
                    <a:lnTo>
                      <a:pt x="24" y="200"/>
                    </a:lnTo>
                    <a:lnTo>
                      <a:pt x="24" y="212"/>
                    </a:lnTo>
                    <a:lnTo>
                      <a:pt x="24" y="222"/>
                    </a:lnTo>
                    <a:lnTo>
                      <a:pt x="18" y="226"/>
                    </a:lnTo>
                    <a:lnTo>
                      <a:pt x="10" y="240"/>
                    </a:lnTo>
                    <a:lnTo>
                      <a:pt x="0" y="240"/>
                    </a:lnTo>
                    <a:lnTo>
                      <a:pt x="2" y="254"/>
                    </a:lnTo>
                    <a:lnTo>
                      <a:pt x="2" y="262"/>
                    </a:lnTo>
                    <a:lnTo>
                      <a:pt x="2" y="268"/>
                    </a:lnTo>
                    <a:lnTo>
                      <a:pt x="4" y="274"/>
                    </a:lnTo>
                    <a:lnTo>
                      <a:pt x="20" y="294"/>
                    </a:lnTo>
                    <a:lnTo>
                      <a:pt x="30" y="310"/>
                    </a:lnTo>
                    <a:lnTo>
                      <a:pt x="32" y="312"/>
                    </a:lnTo>
                    <a:lnTo>
                      <a:pt x="36" y="312"/>
                    </a:lnTo>
                    <a:lnTo>
                      <a:pt x="44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54" y="322"/>
                    </a:lnTo>
                    <a:lnTo>
                      <a:pt x="60" y="322"/>
                    </a:lnTo>
                    <a:lnTo>
                      <a:pt x="62" y="324"/>
                    </a:lnTo>
                    <a:lnTo>
                      <a:pt x="60" y="332"/>
                    </a:lnTo>
                    <a:lnTo>
                      <a:pt x="70" y="344"/>
                    </a:lnTo>
                    <a:lnTo>
                      <a:pt x="88" y="350"/>
                    </a:lnTo>
                    <a:lnTo>
                      <a:pt x="96" y="350"/>
                    </a:lnTo>
                    <a:lnTo>
                      <a:pt x="106" y="344"/>
                    </a:lnTo>
                    <a:lnTo>
                      <a:pt x="106" y="338"/>
                    </a:lnTo>
                    <a:lnTo>
                      <a:pt x="112" y="334"/>
                    </a:lnTo>
                    <a:lnTo>
                      <a:pt x="120" y="340"/>
                    </a:lnTo>
                    <a:lnTo>
                      <a:pt x="122" y="342"/>
                    </a:lnTo>
                    <a:lnTo>
                      <a:pt x="128" y="340"/>
                    </a:lnTo>
                    <a:lnTo>
                      <a:pt x="148" y="332"/>
                    </a:lnTo>
                    <a:lnTo>
                      <a:pt x="152" y="320"/>
                    </a:lnTo>
                    <a:lnTo>
                      <a:pt x="154" y="320"/>
                    </a:lnTo>
                    <a:lnTo>
                      <a:pt x="158" y="324"/>
                    </a:lnTo>
                    <a:lnTo>
                      <a:pt x="174" y="310"/>
                    </a:lnTo>
                    <a:lnTo>
                      <a:pt x="180" y="314"/>
                    </a:lnTo>
                    <a:lnTo>
                      <a:pt x="192" y="296"/>
                    </a:lnTo>
                    <a:lnTo>
                      <a:pt x="188" y="290"/>
                    </a:lnTo>
                    <a:lnTo>
                      <a:pt x="190" y="278"/>
                    </a:lnTo>
                    <a:lnTo>
                      <a:pt x="204" y="254"/>
                    </a:lnTo>
                    <a:lnTo>
                      <a:pt x="220" y="188"/>
                    </a:lnTo>
                    <a:lnTo>
                      <a:pt x="224" y="188"/>
                    </a:lnTo>
                    <a:lnTo>
                      <a:pt x="234" y="194"/>
                    </a:lnTo>
                    <a:lnTo>
                      <a:pt x="234" y="198"/>
                    </a:lnTo>
                    <a:lnTo>
                      <a:pt x="240" y="202"/>
                    </a:lnTo>
                    <a:lnTo>
                      <a:pt x="250" y="200"/>
                    </a:lnTo>
                    <a:lnTo>
                      <a:pt x="256" y="190"/>
                    </a:lnTo>
                    <a:lnTo>
                      <a:pt x="262" y="164"/>
                    </a:lnTo>
                    <a:lnTo>
                      <a:pt x="268" y="156"/>
                    </a:lnTo>
                    <a:lnTo>
                      <a:pt x="278" y="160"/>
                    </a:lnTo>
                    <a:lnTo>
                      <a:pt x="284" y="146"/>
                    </a:lnTo>
                    <a:lnTo>
                      <a:pt x="290" y="142"/>
                    </a:lnTo>
                    <a:lnTo>
                      <a:pt x="294" y="136"/>
                    </a:lnTo>
                    <a:lnTo>
                      <a:pt x="300" y="122"/>
                    </a:lnTo>
                    <a:lnTo>
                      <a:pt x="304" y="120"/>
                    </a:lnTo>
                    <a:lnTo>
                      <a:pt x="304" y="116"/>
                    </a:lnTo>
                    <a:lnTo>
                      <a:pt x="302" y="114"/>
                    </a:lnTo>
                    <a:lnTo>
                      <a:pt x="302" y="94"/>
                    </a:lnTo>
                    <a:lnTo>
                      <a:pt x="304" y="90"/>
                    </a:lnTo>
                    <a:lnTo>
                      <a:pt x="308" y="88"/>
                    </a:lnTo>
                    <a:lnTo>
                      <a:pt x="344" y="110"/>
                    </a:lnTo>
                    <a:lnTo>
                      <a:pt x="348" y="112"/>
                    </a:lnTo>
                    <a:lnTo>
                      <a:pt x="350" y="110"/>
                    </a:lnTo>
                    <a:lnTo>
                      <a:pt x="354" y="92"/>
                    </a:lnTo>
                    <a:lnTo>
                      <a:pt x="346" y="74"/>
                    </a:lnTo>
                    <a:lnTo>
                      <a:pt x="342" y="72"/>
                    </a:lnTo>
                    <a:lnTo>
                      <a:pt x="340" y="64"/>
                    </a:lnTo>
                    <a:lnTo>
                      <a:pt x="332" y="68"/>
                    </a:lnTo>
                    <a:lnTo>
                      <a:pt x="326" y="66"/>
                    </a:lnTo>
                    <a:lnTo>
                      <a:pt x="320" y="64"/>
                    </a:lnTo>
                    <a:lnTo>
                      <a:pt x="296" y="72"/>
                    </a:lnTo>
                    <a:lnTo>
                      <a:pt x="294" y="78"/>
                    </a:lnTo>
                    <a:lnTo>
                      <a:pt x="284" y="82"/>
                    </a:lnTo>
                    <a:lnTo>
                      <a:pt x="274" y="80"/>
                    </a:lnTo>
                    <a:lnTo>
                      <a:pt x="270" y="74"/>
                    </a:lnTo>
                    <a:lnTo>
                      <a:pt x="266" y="84"/>
                    </a:lnTo>
                    <a:lnTo>
                      <a:pt x="260" y="88"/>
                    </a:lnTo>
                    <a:lnTo>
                      <a:pt x="254" y="96"/>
                    </a:lnTo>
                    <a:lnTo>
                      <a:pt x="248" y="98"/>
                    </a:lnTo>
                    <a:lnTo>
                      <a:pt x="232" y="116"/>
                    </a:lnTo>
                    <a:lnTo>
                      <a:pt x="228" y="118"/>
                    </a:lnTo>
                    <a:lnTo>
                      <a:pt x="224" y="126"/>
                    </a:lnTo>
                    <a:lnTo>
                      <a:pt x="212" y="74"/>
                    </a:lnTo>
                    <a:lnTo>
                      <a:pt x="136" y="90"/>
                    </a:lnTo>
                    <a:lnTo>
                      <a:pt x="120" y="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" name="Freeform 48">
                <a:extLst>
                  <a:ext uri="{FF2B5EF4-FFF2-40B4-BE49-F238E27FC236}">
                    <a16:creationId xmlns:a16="http://schemas.microsoft.com/office/drawing/2014/main" id="{47929C20-2EF9-4588-BB24-2E9889BA4C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7" y="1278"/>
                <a:ext cx="633" cy="1080"/>
              </a:xfrm>
              <a:custGeom>
                <a:avLst/>
                <a:gdLst>
                  <a:gd name="T0" fmla="*/ 358 w 630"/>
                  <a:gd name="T1" fmla="*/ 1054 h 1076"/>
                  <a:gd name="T2" fmla="*/ 360 w 630"/>
                  <a:gd name="T3" fmla="*/ 1038 h 1076"/>
                  <a:gd name="T4" fmla="*/ 352 w 630"/>
                  <a:gd name="T5" fmla="*/ 1026 h 1076"/>
                  <a:gd name="T6" fmla="*/ 336 w 630"/>
                  <a:gd name="T7" fmla="*/ 956 h 1076"/>
                  <a:gd name="T8" fmla="*/ 297 w 630"/>
                  <a:gd name="T9" fmla="*/ 915 h 1076"/>
                  <a:gd name="T10" fmla="*/ 283 w 630"/>
                  <a:gd name="T11" fmla="*/ 899 h 1076"/>
                  <a:gd name="T12" fmla="*/ 275 w 630"/>
                  <a:gd name="T13" fmla="*/ 879 h 1076"/>
                  <a:gd name="T14" fmla="*/ 229 w 630"/>
                  <a:gd name="T15" fmla="*/ 861 h 1076"/>
                  <a:gd name="T16" fmla="*/ 195 w 630"/>
                  <a:gd name="T17" fmla="*/ 825 h 1076"/>
                  <a:gd name="T18" fmla="*/ 133 w 630"/>
                  <a:gd name="T19" fmla="*/ 801 h 1076"/>
                  <a:gd name="T20" fmla="*/ 129 w 630"/>
                  <a:gd name="T21" fmla="*/ 777 h 1076"/>
                  <a:gd name="T22" fmla="*/ 137 w 630"/>
                  <a:gd name="T23" fmla="*/ 743 h 1076"/>
                  <a:gd name="T24" fmla="*/ 125 w 630"/>
                  <a:gd name="T25" fmla="*/ 715 h 1076"/>
                  <a:gd name="T26" fmla="*/ 129 w 630"/>
                  <a:gd name="T27" fmla="*/ 703 h 1076"/>
                  <a:gd name="T28" fmla="*/ 94 w 630"/>
                  <a:gd name="T29" fmla="*/ 640 h 1076"/>
                  <a:gd name="T30" fmla="*/ 70 w 630"/>
                  <a:gd name="T31" fmla="*/ 596 h 1076"/>
                  <a:gd name="T32" fmla="*/ 82 w 630"/>
                  <a:gd name="T33" fmla="*/ 566 h 1076"/>
                  <a:gd name="T34" fmla="*/ 86 w 630"/>
                  <a:gd name="T35" fmla="*/ 534 h 1076"/>
                  <a:gd name="T36" fmla="*/ 56 w 630"/>
                  <a:gd name="T37" fmla="*/ 504 h 1076"/>
                  <a:gd name="T38" fmla="*/ 58 w 630"/>
                  <a:gd name="T39" fmla="*/ 458 h 1076"/>
                  <a:gd name="T40" fmla="*/ 68 w 630"/>
                  <a:gd name="T41" fmla="*/ 440 h 1076"/>
                  <a:gd name="T42" fmla="*/ 72 w 630"/>
                  <a:gd name="T43" fmla="*/ 462 h 1076"/>
                  <a:gd name="T44" fmla="*/ 88 w 630"/>
                  <a:gd name="T45" fmla="*/ 458 h 1076"/>
                  <a:gd name="T46" fmla="*/ 82 w 630"/>
                  <a:gd name="T47" fmla="*/ 416 h 1076"/>
                  <a:gd name="T48" fmla="*/ 70 w 630"/>
                  <a:gd name="T49" fmla="*/ 428 h 1076"/>
                  <a:gd name="T50" fmla="*/ 46 w 630"/>
                  <a:gd name="T51" fmla="*/ 414 h 1076"/>
                  <a:gd name="T52" fmla="*/ 38 w 630"/>
                  <a:gd name="T53" fmla="*/ 397 h 1076"/>
                  <a:gd name="T54" fmla="*/ 18 w 630"/>
                  <a:gd name="T55" fmla="*/ 331 h 1076"/>
                  <a:gd name="T56" fmla="*/ 10 w 630"/>
                  <a:gd name="T57" fmla="*/ 281 h 1076"/>
                  <a:gd name="T58" fmla="*/ 22 w 630"/>
                  <a:gd name="T59" fmla="*/ 241 h 1076"/>
                  <a:gd name="T60" fmla="*/ 12 w 630"/>
                  <a:gd name="T61" fmla="*/ 193 h 1076"/>
                  <a:gd name="T62" fmla="*/ 4 w 630"/>
                  <a:gd name="T63" fmla="*/ 177 h 1076"/>
                  <a:gd name="T64" fmla="*/ 2 w 630"/>
                  <a:gd name="T65" fmla="*/ 151 h 1076"/>
                  <a:gd name="T66" fmla="*/ 40 w 630"/>
                  <a:gd name="T67" fmla="*/ 94 h 1076"/>
                  <a:gd name="T68" fmla="*/ 48 w 630"/>
                  <a:gd name="T69" fmla="*/ 70 h 1076"/>
                  <a:gd name="T70" fmla="*/ 50 w 630"/>
                  <a:gd name="T71" fmla="*/ 18 h 1076"/>
                  <a:gd name="T72" fmla="*/ 358 w 630"/>
                  <a:gd name="T73" fmla="*/ 80 h 1076"/>
                  <a:gd name="T74" fmla="*/ 609 w 630"/>
                  <a:gd name="T75" fmla="*/ 869 h 1076"/>
                  <a:gd name="T76" fmla="*/ 615 w 630"/>
                  <a:gd name="T77" fmla="*/ 891 h 1076"/>
                  <a:gd name="T78" fmla="*/ 621 w 630"/>
                  <a:gd name="T79" fmla="*/ 919 h 1076"/>
                  <a:gd name="T80" fmla="*/ 633 w 630"/>
                  <a:gd name="T81" fmla="*/ 937 h 1076"/>
                  <a:gd name="T82" fmla="*/ 619 w 630"/>
                  <a:gd name="T83" fmla="*/ 948 h 1076"/>
                  <a:gd name="T84" fmla="*/ 591 w 630"/>
                  <a:gd name="T85" fmla="*/ 990 h 1076"/>
                  <a:gd name="T86" fmla="*/ 567 w 630"/>
                  <a:gd name="T87" fmla="*/ 1016 h 1076"/>
                  <a:gd name="T88" fmla="*/ 565 w 630"/>
                  <a:gd name="T89" fmla="*/ 1042 h 1076"/>
                  <a:gd name="T90" fmla="*/ 581 w 630"/>
                  <a:gd name="T91" fmla="*/ 1062 h 1076"/>
                  <a:gd name="T92" fmla="*/ 569 w 630"/>
                  <a:gd name="T93" fmla="*/ 1080 h 107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30" h="1076">
                    <a:moveTo>
                      <a:pt x="548" y="1072"/>
                    </a:moveTo>
                    <a:lnTo>
                      <a:pt x="358" y="1052"/>
                    </a:lnTo>
                    <a:lnTo>
                      <a:pt x="356" y="1050"/>
                    </a:lnTo>
                    <a:lnTo>
                      <a:pt x="354" y="1040"/>
                    </a:lnTo>
                    <a:lnTo>
                      <a:pt x="356" y="1036"/>
                    </a:lnTo>
                    <a:lnTo>
                      <a:pt x="358" y="1034"/>
                    </a:lnTo>
                    <a:lnTo>
                      <a:pt x="356" y="1032"/>
                    </a:lnTo>
                    <a:lnTo>
                      <a:pt x="352" y="1030"/>
                    </a:lnTo>
                    <a:lnTo>
                      <a:pt x="350" y="1022"/>
                    </a:lnTo>
                    <a:lnTo>
                      <a:pt x="352" y="1020"/>
                    </a:lnTo>
                    <a:lnTo>
                      <a:pt x="350" y="988"/>
                    </a:lnTo>
                    <a:lnTo>
                      <a:pt x="334" y="952"/>
                    </a:lnTo>
                    <a:lnTo>
                      <a:pt x="324" y="942"/>
                    </a:lnTo>
                    <a:lnTo>
                      <a:pt x="316" y="928"/>
                    </a:lnTo>
                    <a:lnTo>
                      <a:pt x="296" y="912"/>
                    </a:lnTo>
                    <a:lnTo>
                      <a:pt x="284" y="912"/>
                    </a:lnTo>
                    <a:lnTo>
                      <a:pt x="278" y="906"/>
                    </a:lnTo>
                    <a:lnTo>
                      <a:pt x="282" y="896"/>
                    </a:lnTo>
                    <a:lnTo>
                      <a:pt x="280" y="890"/>
                    </a:lnTo>
                    <a:lnTo>
                      <a:pt x="280" y="884"/>
                    </a:lnTo>
                    <a:lnTo>
                      <a:pt x="274" y="876"/>
                    </a:lnTo>
                    <a:lnTo>
                      <a:pt x="254" y="874"/>
                    </a:lnTo>
                    <a:lnTo>
                      <a:pt x="242" y="870"/>
                    </a:lnTo>
                    <a:lnTo>
                      <a:pt x="228" y="858"/>
                    </a:lnTo>
                    <a:lnTo>
                      <a:pt x="220" y="836"/>
                    </a:lnTo>
                    <a:lnTo>
                      <a:pt x="208" y="826"/>
                    </a:lnTo>
                    <a:lnTo>
                      <a:pt x="194" y="822"/>
                    </a:lnTo>
                    <a:lnTo>
                      <a:pt x="158" y="806"/>
                    </a:lnTo>
                    <a:lnTo>
                      <a:pt x="148" y="806"/>
                    </a:lnTo>
                    <a:lnTo>
                      <a:pt x="132" y="798"/>
                    </a:lnTo>
                    <a:lnTo>
                      <a:pt x="124" y="788"/>
                    </a:lnTo>
                    <a:lnTo>
                      <a:pt x="124" y="780"/>
                    </a:lnTo>
                    <a:lnTo>
                      <a:pt x="128" y="774"/>
                    </a:lnTo>
                    <a:lnTo>
                      <a:pt x="132" y="756"/>
                    </a:lnTo>
                    <a:lnTo>
                      <a:pt x="134" y="746"/>
                    </a:lnTo>
                    <a:lnTo>
                      <a:pt x="136" y="740"/>
                    </a:lnTo>
                    <a:lnTo>
                      <a:pt x="134" y="728"/>
                    </a:lnTo>
                    <a:lnTo>
                      <a:pt x="124" y="724"/>
                    </a:lnTo>
                    <a:lnTo>
                      <a:pt x="124" y="712"/>
                    </a:lnTo>
                    <a:lnTo>
                      <a:pt x="126" y="710"/>
                    </a:lnTo>
                    <a:lnTo>
                      <a:pt x="128" y="710"/>
                    </a:lnTo>
                    <a:lnTo>
                      <a:pt x="128" y="700"/>
                    </a:lnTo>
                    <a:lnTo>
                      <a:pt x="118" y="692"/>
                    </a:lnTo>
                    <a:lnTo>
                      <a:pt x="96" y="650"/>
                    </a:lnTo>
                    <a:lnTo>
                      <a:pt x="94" y="638"/>
                    </a:lnTo>
                    <a:lnTo>
                      <a:pt x="90" y="628"/>
                    </a:lnTo>
                    <a:lnTo>
                      <a:pt x="88" y="620"/>
                    </a:lnTo>
                    <a:lnTo>
                      <a:pt x="70" y="594"/>
                    </a:lnTo>
                    <a:lnTo>
                      <a:pt x="72" y="570"/>
                    </a:lnTo>
                    <a:lnTo>
                      <a:pt x="76" y="564"/>
                    </a:lnTo>
                    <a:lnTo>
                      <a:pt x="82" y="564"/>
                    </a:lnTo>
                    <a:lnTo>
                      <a:pt x="90" y="554"/>
                    </a:lnTo>
                    <a:lnTo>
                      <a:pt x="92" y="536"/>
                    </a:lnTo>
                    <a:lnTo>
                      <a:pt x="86" y="532"/>
                    </a:lnTo>
                    <a:lnTo>
                      <a:pt x="74" y="526"/>
                    </a:lnTo>
                    <a:lnTo>
                      <a:pt x="60" y="514"/>
                    </a:lnTo>
                    <a:lnTo>
                      <a:pt x="56" y="502"/>
                    </a:lnTo>
                    <a:lnTo>
                      <a:pt x="56" y="470"/>
                    </a:lnTo>
                    <a:lnTo>
                      <a:pt x="60" y="466"/>
                    </a:lnTo>
                    <a:lnTo>
                      <a:pt x="58" y="456"/>
                    </a:lnTo>
                    <a:lnTo>
                      <a:pt x="62" y="454"/>
                    </a:lnTo>
                    <a:lnTo>
                      <a:pt x="64" y="438"/>
                    </a:lnTo>
                    <a:lnTo>
                      <a:pt x="68" y="438"/>
                    </a:lnTo>
                    <a:lnTo>
                      <a:pt x="70" y="444"/>
                    </a:lnTo>
                    <a:lnTo>
                      <a:pt x="70" y="456"/>
                    </a:lnTo>
                    <a:lnTo>
                      <a:pt x="72" y="460"/>
                    </a:lnTo>
                    <a:lnTo>
                      <a:pt x="84" y="468"/>
                    </a:lnTo>
                    <a:lnTo>
                      <a:pt x="86" y="466"/>
                    </a:lnTo>
                    <a:lnTo>
                      <a:pt x="88" y="456"/>
                    </a:lnTo>
                    <a:lnTo>
                      <a:pt x="82" y="438"/>
                    </a:lnTo>
                    <a:lnTo>
                      <a:pt x="80" y="428"/>
                    </a:lnTo>
                    <a:lnTo>
                      <a:pt x="82" y="414"/>
                    </a:lnTo>
                    <a:lnTo>
                      <a:pt x="78" y="412"/>
                    </a:lnTo>
                    <a:lnTo>
                      <a:pt x="70" y="422"/>
                    </a:lnTo>
                    <a:lnTo>
                      <a:pt x="70" y="426"/>
                    </a:lnTo>
                    <a:lnTo>
                      <a:pt x="68" y="432"/>
                    </a:lnTo>
                    <a:lnTo>
                      <a:pt x="56" y="428"/>
                    </a:lnTo>
                    <a:lnTo>
                      <a:pt x="46" y="412"/>
                    </a:lnTo>
                    <a:lnTo>
                      <a:pt x="34" y="406"/>
                    </a:lnTo>
                    <a:lnTo>
                      <a:pt x="38" y="396"/>
                    </a:lnTo>
                    <a:lnTo>
                      <a:pt x="38" y="360"/>
                    </a:lnTo>
                    <a:lnTo>
                      <a:pt x="24" y="342"/>
                    </a:lnTo>
                    <a:lnTo>
                      <a:pt x="18" y="330"/>
                    </a:lnTo>
                    <a:lnTo>
                      <a:pt x="6" y="300"/>
                    </a:lnTo>
                    <a:lnTo>
                      <a:pt x="12" y="290"/>
                    </a:lnTo>
                    <a:lnTo>
                      <a:pt x="10" y="280"/>
                    </a:lnTo>
                    <a:lnTo>
                      <a:pt x="8" y="272"/>
                    </a:lnTo>
                    <a:lnTo>
                      <a:pt x="14" y="250"/>
                    </a:lnTo>
                    <a:lnTo>
                      <a:pt x="22" y="240"/>
                    </a:lnTo>
                    <a:lnTo>
                      <a:pt x="22" y="234"/>
                    </a:lnTo>
                    <a:lnTo>
                      <a:pt x="22" y="212"/>
                    </a:lnTo>
                    <a:lnTo>
                      <a:pt x="12" y="192"/>
                    </a:lnTo>
                    <a:lnTo>
                      <a:pt x="12" y="188"/>
                    </a:lnTo>
                    <a:lnTo>
                      <a:pt x="8" y="182"/>
                    </a:lnTo>
                    <a:lnTo>
                      <a:pt x="4" y="176"/>
                    </a:lnTo>
                    <a:lnTo>
                      <a:pt x="0" y="166"/>
                    </a:lnTo>
                    <a:lnTo>
                      <a:pt x="0" y="154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12" y="124"/>
                    </a:lnTo>
                    <a:lnTo>
                      <a:pt x="40" y="94"/>
                    </a:lnTo>
                    <a:lnTo>
                      <a:pt x="40" y="86"/>
                    </a:lnTo>
                    <a:lnTo>
                      <a:pt x="42" y="76"/>
                    </a:lnTo>
                    <a:lnTo>
                      <a:pt x="48" y="70"/>
                    </a:lnTo>
                    <a:lnTo>
                      <a:pt x="54" y="58"/>
                    </a:lnTo>
                    <a:lnTo>
                      <a:pt x="58" y="30"/>
                    </a:lnTo>
                    <a:lnTo>
                      <a:pt x="50" y="18"/>
                    </a:lnTo>
                    <a:lnTo>
                      <a:pt x="58" y="4"/>
                    </a:lnTo>
                    <a:lnTo>
                      <a:pt x="60" y="0"/>
                    </a:lnTo>
                    <a:lnTo>
                      <a:pt x="356" y="80"/>
                    </a:lnTo>
                    <a:lnTo>
                      <a:pt x="282" y="374"/>
                    </a:lnTo>
                    <a:lnTo>
                      <a:pt x="606" y="852"/>
                    </a:lnTo>
                    <a:lnTo>
                      <a:pt x="606" y="866"/>
                    </a:lnTo>
                    <a:lnTo>
                      <a:pt x="608" y="872"/>
                    </a:lnTo>
                    <a:lnTo>
                      <a:pt x="606" y="876"/>
                    </a:lnTo>
                    <a:lnTo>
                      <a:pt x="612" y="888"/>
                    </a:lnTo>
                    <a:lnTo>
                      <a:pt x="612" y="898"/>
                    </a:lnTo>
                    <a:lnTo>
                      <a:pt x="616" y="904"/>
                    </a:lnTo>
                    <a:lnTo>
                      <a:pt x="618" y="916"/>
                    </a:lnTo>
                    <a:lnTo>
                      <a:pt x="624" y="920"/>
                    </a:lnTo>
                    <a:lnTo>
                      <a:pt x="628" y="926"/>
                    </a:lnTo>
                    <a:lnTo>
                      <a:pt x="630" y="934"/>
                    </a:lnTo>
                    <a:lnTo>
                      <a:pt x="628" y="938"/>
                    </a:lnTo>
                    <a:lnTo>
                      <a:pt x="626" y="936"/>
                    </a:lnTo>
                    <a:lnTo>
                      <a:pt x="616" y="944"/>
                    </a:lnTo>
                    <a:lnTo>
                      <a:pt x="604" y="948"/>
                    </a:lnTo>
                    <a:lnTo>
                      <a:pt x="594" y="960"/>
                    </a:lnTo>
                    <a:lnTo>
                      <a:pt x="588" y="986"/>
                    </a:lnTo>
                    <a:lnTo>
                      <a:pt x="572" y="1006"/>
                    </a:lnTo>
                    <a:lnTo>
                      <a:pt x="564" y="1006"/>
                    </a:lnTo>
                    <a:lnTo>
                      <a:pt x="564" y="1012"/>
                    </a:lnTo>
                    <a:lnTo>
                      <a:pt x="566" y="1020"/>
                    </a:lnTo>
                    <a:lnTo>
                      <a:pt x="566" y="1026"/>
                    </a:lnTo>
                    <a:lnTo>
                      <a:pt x="562" y="1038"/>
                    </a:lnTo>
                    <a:lnTo>
                      <a:pt x="564" y="1044"/>
                    </a:lnTo>
                    <a:lnTo>
                      <a:pt x="576" y="1052"/>
                    </a:lnTo>
                    <a:lnTo>
                      <a:pt x="578" y="1058"/>
                    </a:lnTo>
                    <a:lnTo>
                      <a:pt x="574" y="1062"/>
                    </a:lnTo>
                    <a:lnTo>
                      <a:pt x="572" y="1068"/>
                    </a:lnTo>
                    <a:lnTo>
                      <a:pt x="566" y="1076"/>
                    </a:lnTo>
                    <a:lnTo>
                      <a:pt x="562" y="1074"/>
                    </a:lnTo>
                    <a:lnTo>
                      <a:pt x="548" y="107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Freeform 58">
                <a:extLst>
                  <a:ext uri="{FF2B5EF4-FFF2-40B4-BE49-F238E27FC236}">
                    <a16:creationId xmlns:a16="http://schemas.microsoft.com/office/drawing/2014/main" id="{BDED96F9-A7E7-4D1A-B444-2A4E33074E4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3" y="1640"/>
                <a:ext cx="364" cy="177"/>
              </a:xfrm>
              <a:custGeom>
                <a:avLst/>
                <a:gdLst>
                  <a:gd name="T0" fmla="*/ 209 w 362"/>
                  <a:gd name="T1" fmla="*/ 12 h 174"/>
                  <a:gd name="T2" fmla="*/ 12 w 362"/>
                  <a:gd name="T3" fmla="*/ 106 h 174"/>
                  <a:gd name="T4" fmla="*/ 20 w 362"/>
                  <a:gd name="T5" fmla="*/ 96 h 174"/>
                  <a:gd name="T6" fmla="*/ 42 w 362"/>
                  <a:gd name="T7" fmla="*/ 75 h 174"/>
                  <a:gd name="T8" fmla="*/ 54 w 362"/>
                  <a:gd name="T9" fmla="*/ 63 h 174"/>
                  <a:gd name="T10" fmla="*/ 62 w 362"/>
                  <a:gd name="T11" fmla="*/ 59 h 174"/>
                  <a:gd name="T12" fmla="*/ 82 w 362"/>
                  <a:gd name="T13" fmla="*/ 57 h 174"/>
                  <a:gd name="T14" fmla="*/ 109 w 362"/>
                  <a:gd name="T15" fmla="*/ 43 h 174"/>
                  <a:gd name="T16" fmla="*/ 121 w 362"/>
                  <a:gd name="T17" fmla="*/ 47 h 174"/>
                  <a:gd name="T18" fmla="*/ 131 w 362"/>
                  <a:gd name="T19" fmla="*/ 51 h 174"/>
                  <a:gd name="T20" fmla="*/ 143 w 362"/>
                  <a:gd name="T21" fmla="*/ 71 h 174"/>
                  <a:gd name="T22" fmla="*/ 149 w 362"/>
                  <a:gd name="T23" fmla="*/ 69 h 174"/>
                  <a:gd name="T24" fmla="*/ 163 w 362"/>
                  <a:gd name="T25" fmla="*/ 75 h 174"/>
                  <a:gd name="T26" fmla="*/ 167 w 362"/>
                  <a:gd name="T27" fmla="*/ 94 h 174"/>
                  <a:gd name="T28" fmla="*/ 189 w 362"/>
                  <a:gd name="T29" fmla="*/ 100 h 174"/>
                  <a:gd name="T30" fmla="*/ 205 w 362"/>
                  <a:gd name="T31" fmla="*/ 112 h 174"/>
                  <a:gd name="T32" fmla="*/ 193 w 362"/>
                  <a:gd name="T33" fmla="*/ 134 h 174"/>
                  <a:gd name="T34" fmla="*/ 189 w 362"/>
                  <a:gd name="T35" fmla="*/ 161 h 174"/>
                  <a:gd name="T36" fmla="*/ 211 w 362"/>
                  <a:gd name="T37" fmla="*/ 155 h 174"/>
                  <a:gd name="T38" fmla="*/ 225 w 362"/>
                  <a:gd name="T39" fmla="*/ 167 h 174"/>
                  <a:gd name="T40" fmla="*/ 233 w 362"/>
                  <a:gd name="T41" fmla="*/ 163 h 174"/>
                  <a:gd name="T42" fmla="*/ 263 w 362"/>
                  <a:gd name="T43" fmla="*/ 169 h 174"/>
                  <a:gd name="T44" fmla="*/ 274 w 362"/>
                  <a:gd name="T45" fmla="*/ 173 h 174"/>
                  <a:gd name="T46" fmla="*/ 269 w 362"/>
                  <a:gd name="T47" fmla="*/ 165 h 174"/>
                  <a:gd name="T48" fmla="*/ 257 w 362"/>
                  <a:gd name="T49" fmla="*/ 151 h 174"/>
                  <a:gd name="T50" fmla="*/ 257 w 362"/>
                  <a:gd name="T51" fmla="*/ 146 h 174"/>
                  <a:gd name="T52" fmla="*/ 261 w 362"/>
                  <a:gd name="T53" fmla="*/ 142 h 174"/>
                  <a:gd name="T54" fmla="*/ 247 w 362"/>
                  <a:gd name="T55" fmla="*/ 128 h 174"/>
                  <a:gd name="T56" fmla="*/ 239 w 362"/>
                  <a:gd name="T57" fmla="*/ 106 h 174"/>
                  <a:gd name="T58" fmla="*/ 241 w 362"/>
                  <a:gd name="T59" fmla="*/ 75 h 174"/>
                  <a:gd name="T60" fmla="*/ 237 w 362"/>
                  <a:gd name="T61" fmla="*/ 69 h 174"/>
                  <a:gd name="T62" fmla="*/ 239 w 362"/>
                  <a:gd name="T63" fmla="*/ 59 h 174"/>
                  <a:gd name="T64" fmla="*/ 243 w 362"/>
                  <a:gd name="T65" fmla="*/ 49 h 174"/>
                  <a:gd name="T66" fmla="*/ 259 w 362"/>
                  <a:gd name="T67" fmla="*/ 37 h 174"/>
                  <a:gd name="T68" fmla="*/ 271 w 362"/>
                  <a:gd name="T69" fmla="*/ 22 h 174"/>
                  <a:gd name="T70" fmla="*/ 267 w 362"/>
                  <a:gd name="T71" fmla="*/ 39 h 174"/>
                  <a:gd name="T72" fmla="*/ 257 w 362"/>
                  <a:gd name="T73" fmla="*/ 53 h 174"/>
                  <a:gd name="T74" fmla="*/ 259 w 362"/>
                  <a:gd name="T75" fmla="*/ 71 h 174"/>
                  <a:gd name="T76" fmla="*/ 269 w 362"/>
                  <a:gd name="T77" fmla="*/ 92 h 174"/>
                  <a:gd name="T78" fmla="*/ 257 w 362"/>
                  <a:gd name="T79" fmla="*/ 102 h 174"/>
                  <a:gd name="T80" fmla="*/ 267 w 362"/>
                  <a:gd name="T81" fmla="*/ 108 h 174"/>
                  <a:gd name="T82" fmla="*/ 267 w 362"/>
                  <a:gd name="T83" fmla="*/ 120 h 174"/>
                  <a:gd name="T84" fmla="*/ 269 w 362"/>
                  <a:gd name="T85" fmla="*/ 130 h 174"/>
                  <a:gd name="T86" fmla="*/ 286 w 362"/>
                  <a:gd name="T87" fmla="*/ 151 h 174"/>
                  <a:gd name="T88" fmla="*/ 294 w 362"/>
                  <a:gd name="T89" fmla="*/ 146 h 174"/>
                  <a:gd name="T90" fmla="*/ 304 w 362"/>
                  <a:gd name="T91" fmla="*/ 149 h 174"/>
                  <a:gd name="T92" fmla="*/ 308 w 362"/>
                  <a:gd name="T93" fmla="*/ 165 h 174"/>
                  <a:gd name="T94" fmla="*/ 312 w 362"/>
                  <a:gd name="T95" fmla="*/ 175 h 174"/>
                  <a:gd name="T96" fmla="*/ 324 w 362"/>
                  <a:gd name="T97" fmla="*/ 177 h 174"/>
                  <a:gd name="T98" fmla="*/ 354 w 362"/>
                  <a:gd name="T99" fmla="*/ 161 h 174"/>
                  <a:gd name="T100" fmla="*/ 358 w 362"/>
                  <a:gd name="T101" fmla="*/ 151 h 174"/>
                  <a:gd name="T102" fmla="*/ 362 w 362"/>
                  <a:gd name="T103" fmla="*/ 114 h 174"/>
                  <a:gd name="T104" fmla="*/ 276 w 362"/>
                  <a:gd name="T105" fmla="*/ 0 h 17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362" h="174">
                    <a:moveTo>
                      <a:pt x="274" y="0"/>
                    </a:moveTo>
                    <a:lnTo>
                      <a:pt x="208" y="12"/>
                    </a:lnTo>
                    <a:lnTo>
                      <a:pt x="0" y="52"/>
                    </a:lnTo>
                    <a:lnTo>
                      <a:pt x="12" y="104"/>
                    </a:lnTo>
                    <a:lnTo>
                      <a:pt x="16" y="96"/>
                    </a:lnTo>
                    <a:lnTo>
                      <a:pt x="20" y="94"/>
                    </a:lnTo>
                    <a:lnTo>
                      <a:pt x="36" y="76"/>
                    </a:lnTo>
                    <a:lnTo>
                      <a:pt x="42" y="74"/>
                    </a:lnTo>
                    <a:lnTo>
                      <a:pt x="48" y="66"/>
                    </a:lnTo>
                    <a:lnTo>
                      <a:pt x="54" y="62"/>
                    </a:lnTo>
                    <a:lnTo>
                      <a:pt x="58" y="52"/>
                    </a:lnTo>
                    <a:lnTo>
                      <a:pt x="62" y="58"/>
                    </a:lnTo>
                    <a:lnTo>
                      <a:pt x="72" y="60"/>
                    </a:lnTo>
                    <a:lnTo>
                      <a:pt x="82" y="56"/>
                    </a:lnTo>
                    <a:lnTo>
                      <a:pt x="84" y="50"/>
                    </a:lnTo>
                    <a:lnTo>
                      <a:pt x="108" y="42"/>
                    </a:lnTo>
                    <a:lnTo>
                      <a:pt x="114" y="44"/>
                    </a:lnTo>
                    <a:lnTo>
                      <a:pt x="120" y="46"/>
                    </a:lnTo>
                    <a:lnTo>
                      <a:pt x="128" y="42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42" y="70"/>
                    </a:lnTo>
                    <a:lnTo>
                      <a:pt x="148" y="68"/>
                    </a:lnTo>
                    <a:lnTo>
                      <a:pt x="154" y="72"/>
                    </a:lnTo>
                    <a:lnTo>
                      <a:pt x="162" y="74"/>
                    </a:lnTo>
                    <a:lnTo>
                      <a:pt x="158" y="82"/>
                    </a:lnTo>
                    <a:lnTo>
                      <a:pt x="166" y="92"/>
                    </a:lnTo>
                    <a:lnTo>
                      <a:pt x="182" y="92"/>
                    </a:lnTo>
                    <a:lnTo>
                      <a:pt x="188" y="98"/>
                    </a:lnTo>
                    <a:lnTo>
                      <a:pt x="198" y="102"/>
                    </a:lnTo>
                    <a:lnTo>
                      <a:pt x="204" y="110"/>
                    </a:lnTo>
                    <a:lnTo>
                      <a:pt x="202" y="114"/>
                    </a:lnTo>
                    <a:lnTo>
                      <a:pt x="192" y="132"/>
                    </a:lnTo>
                    <a:lnTo>
                      <a:pt x="188" y="148"/>
                    </a:lnTo>
                    <a:lnTo>
                      <a:pt x="188" y="158"/>
                    </a:lnTo>
                    <a:lnTo>
                      <a:pt x="200" y="160"/>
                    </a:lnTo>
                    <a:lnTo>
                      <a:pt x="210" y="152"/>
                    </a:lnTo>
                    <a:lnTo>
                      <a:pt x="218" y="162"/>
                    </a:lnTo>
                    <a:lnTo>
                      <a:pt x="224" y="164"/>
                    </a:lnTo>
                    <a:lnTo>
                      <a:pt x="224" y="162"/>
                    </a:lnTo>
                    <a:lnTo>
                      <a:pt x="232" y="160"/>
                    </a:lnTo>
                    <a:lnTo>
                      <a:pt x="246" y="160"/>
                    </a:lnTo>
                    <a:lnTo>
                      <a:pt x="262" y="166"/>
                    </a:lnTo>
                    <a:lnTo>
                      <a:pt x="268" y="170"/>
                    </a:lnTo>
                    <a:lnTo>
                      <a:pt x="272" y="170"/>
                    </a:lnTo>
                    <a:lnTo>
                      <a:pt x="272" y="166"/>
                    </a:lnTo>
                    <a:lnTo>
                      <a:pt x="268" y="162"/>
                    </a:lnTo>
                    <a:lnTo>
                      <a:pt x="262" y="150"/>
                    </a:lnTo>
                    <a:lnTo>
                      <a:pt x="256" y="148"/>
                    </a:lnTo>
                    <a:lnTo>
                      <a:pt x="254" y="146"/>
                    </a:lnTo>
                    <a:lnTo>
                      <a:pt x="256" y="144"/>
                    </a:lnTo>
                    <a:lnTo>
                      <a:pt x="258" y="144"/>
                    </a:lnTo>
                    <a:lnTo>
                      <a:pt x="260" y="140"/>
                    </a:lnTo>
                    <a:lnTo>
                      <a:pt x="252" y="136"/>
                    </a:lnTo>
                    <a:lnTo>
                      <a:pt x="246" y="126"/>
                    </a:lnTo>
                    <a:lnTo>
                      <a:pt x="240" y="110"/>
                    </a:lnTo>
                    <a:lnTo>
                      <a:pt x="238" y="104"/>
                    </a:lnTo>
                    <a:lnTo>
                      <a:pt x="238" y="92"/>
                    </a:lnTo>
                    <a:lnTo>
                      <a:pt x="240" y="74"/>
                    </a:lnTo>
                    <a:lnTo>
                      <a:pt x="240" y="70"/>
                    </a:lnTo>
                    <a:lnTo>
                      <a:pt x="236" y="68"/>
                    </a:lnTo>
                    <a:lnTo>
                      <a:pt x="236" y="62"/>
                    </a:lnTo>
                    <a:lnTo>
                      <a:pt x="238" y="58"/>
                    </a:lnTo>
                    <a:lnTo>
                      <a:pt x="240" y="54"/>
                    </a:lnTo>
                    <a:lnTo>
                      <a:pt x="242" y="48"/>
                    </a:lnTo>
                    <a:lnTo>
                      <a:pt x="256" y="38"/>
                    </a:lnTo>
                    <a:lnTo>
                      <a:pt x="258" y="36"/>
                    </a:lnTo>
                    <a:lnTo>
                      <a:pt x="262" y="22"/>
                    </a:lnTo>
                    <a:lnTo>
                      <a:pt x="270" y="22"/>
                    </a:lnTo>
                    <a:lnTo>
                      <a:pt x="272" y="28"/>
                    </a:lnTo>
                    <a:lnTo>
                      <a:pt x="266" y="38"/>
                    </a:lnTo>
                    <a:lnTo>
                      <a:pt x="262" y="46"/>
                    </a:lnTo>
                    <a:lnTo>
                      <a:pt x="256" y="52"/>
                    </a:lnTo>
                    <a:lnTo>
                      <a:pt x="252" y="60"/>
                    </a:lnTo>
                    <a:lnTo>
                      <a:pt x="258" y="70"/>
                    </a:lnTo>
                    <a:lnTo>
                      <a:pt x="264" y="72"/>
                    </a:lnTo>
                    <a:lnTo>
                      <a:pt x="268" y="90"/>
                    </a:lnTo>
                    <a:lnTo>
                      <a:pt x="266" y="92"/>
                    </a:lnTo>
                    <a:lnTo>
                      <a:pt x="256" y="100"/>
                    </a:lnTo>
                    <a:lnTo>
                      <a:pt x="258" y="104"/>
                    </a:lnTo>
                    <a:lnTo>
                      <a:pt x="266" y="106"/>
                    </a:lnTo>
                    <a:lnTo>
                      <a:pt x="268" y="110"/>
                    </a:lnTo>
                    <a:lnTo>
                      <a:pt x="266" y="118"/>
                    </a:lnTo>
                    <a:lnTo>
                      <a:pt x="268" y="124"/>
                    </a:lnTo>
                    <a:lnTo>
                      <a:pt x="268" y="128"/>
                    </a:lnTo>
                    <a:lnTo>
                      <a:pt x="272" y="140"/>
                    </a:lnTo>
                    <a:lnTo>
                      <a:pt x="284" y="148"/>
                    </a:lnTo>
                    <a:lnTo>
                      <a:pt x="290" y="148"/>
                    </a:lnTo>
                    <a:lnTo>
                      <a:pt x="292" y="144"/>
                    </a:lnTo>
                    <a:lnTo>
                      <a:pt x="300" y="144"/>
                    </a:lnTo>
                    <a:lnTo>
                      <a:pt x="302" y="146"/>
                    </a:lnTo>
                    <a:lnTo>
                      <a:pt x="300" y="152"/>
                    </a:lnTo>
                    <a:lnTo>
                      <a:pt x="306" y="162"/>
                    </a:lnTo>
                    <a:lnTo>
                      <a:pt x="308" y="166"/>
                    </a:lnTo>
                    <a:lnTo>
                      <a:pt x="310" y="172"/>
                    </a:lnTo>
                    <a:lnTo>
                      <a:pt x="320" y="172"/>
                    </a:lnTo>
                    <a:lnTo>
                      <a:pt x="322" y="174"/>
                    </a:lnTo>
                    <a:lnTo>
                      <a:pt x="328" y="166"/>
                    </a:lnTo>
                    <a:lnTo>
                      <a:pt x="352" y="158"/>
                    </a:lnTo>
                    <a:lnTo>
                      <a:pt x="354" y="154"/>
                    </a:lnTo>
                    <a:lnTo>
                      <a:pt x="356" y="148"/>
                    </a:lnTo>
                    <a:lnTo>
                      <a:pt x="362" y="114"/>
                    </a:lnTo>
                    <a:lnTo>
                      <a:pt x="360" y="112"/>
                    </a:lnTo>
                    <a:lnTo>
                      <a:pt x="310" y="122"/>
                    </a:lnTo>
                    <a:lnTo>
                      <a:pt x="274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Freeform 59">
                <a:extLst>
                  <a:ext uri="{FF2B5EF4-FFF2-40B4-BE49-F238E27FC236}">
                    <a16:creationId xmlns:a16="http://schemas.microsoft.com/office/drawing/2014/main" id="{FB1300FF-75D3-4A62-9D5B-9FDE119439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49" y="1463"/>
                <a:ext cx="112" cy="242"/>
              </a:xfrm>
              <a:custGeom>
                <a:avLst/>
                <a:gdLst>
                  <a:gd name="T0" fmla="*/ 0 w 110"/>
                  <a:gd name="T1" fmla="*/ 182 h 242"/>
                  <a:gd name="T2" fmla="*/ 4 w 110"/>
                  <a:gd name="T3" fmla="*/ 182 h 242"/>
                  <a:gd name="T4" fmla="*/ 14 w 110"/>
                  <a:gd name="T5" fmla="*/ 198 h 242"/>
                  <a:gd name="T6" fmla="*/ 39 w 110"/>
                  <a:gd name="T7" fmla="*/ 214 h 242"/>
                  <a:gd name="T8" fmla="*/ 57 w 110"/>
                  <a:gd name="T9" fmla="*/ 218 h 242"/>
                  <a:gd name="T10" fmla="*/ 63 w 110"/>
                  <a:gd name="T11" fmla="*/ 232 h 242"/>
                  <a:gd name="T12" fmla="*/ 67 w 110"/>
                  <a:gd name="T13" fmla="*/ 242 h 242"/>
                  <a:gd name="T14" fmla="*/ 77 w 110"/>
                  <a:gd name="T15" fmla="*/ 226 h 242"/>
                  <a:gd name="T16" fmla="*/ 86 w 110"/>
                  <a:gd name="T17" fmla="*/ 200 h 242"/>
                  <a:gd name="T18" fmla="*/ 102 w 110"/>
                  <a:gd name="T19" fmla="*/ 174 h 242"/>
                  <a:gd name="T20" fmla="*/ 112 w 110"/>
                  <a:gd name="T21" fmla="*/ 150 h 242"/>
                  <a:gd name="T22" fmla="*/ 108 w 110"/>
                  <a:gd name="T23" fmla="*/ 110 h 242"/>
                  <a:gd name="T24" fmla="*/ 100 w 110"/>
                  <a:gd name="T25" fmla="*/ 76 h 242"/>
                  <a:gd name="T26" fmla="*/ 86 w 110"/>
                  <a:gd name="T27" fmla="*/ 82 h 242"/>
                  <a:gd name="T28" fmla="*/ 79 w 110"/>
                  <a:gd name="T29" fmla="*/ 78 h 242"/>
                  <a:gd name="T30" fmla="*/ 75 w 110"/>
                  <a:gd name="T31" fmla="*/ 80 h 242"/>
                  <a:gd name="T32" fmla="*/ 81 w 110"/>
                  <a:gd name="T33" fmla="*/ 64 h 242"/>
                  <a:gd name="T34" fmla="*/ 88 w 110"/>
                  <a:gd name="T35" fmla="*/ 60 h 242"/>
                  <a:gd name="T36" fmla="*/ 90 w 110"/>
                  <a:gd name="T37" fmla="*/ 42 h 242"/>
                  <a:gd name="T38" fmla="*/ 96 w 110"/>
                  <a:gd name="T39" fmla="*/ 34 h 242"/>
                  <a:gd name="T40" fmla="*/ 26 w 110"/>
                  <a:gd name="T41" fmla="*/ 0 h 242"/>
                  <a:gd name="T42" fmla="*/ 18 w 110"/>
                  <a:gd name="T43" fmla="*/ 12 h 242"/>
                  <a:gd name="T44" fmla="*/ 14 w 110"/>
                  <a:gd name="T45" fmla="*/ 30 h 242"/>
                  <a:gd name="T46" fmla="*/ 4 w 110"/>
                  <a:gd name="T47" fmla="*/ 42 h 242"/>
                  <a:gd name="T48" fmla="*/ 10 w 110"/>
                  <a:gd name="T49" fmla="*/ 52 h 242"/>
                  <a:gd name="T50" fmla="*/ 6 w 110"/>
                  <a:gd name="T51" fmla="*/ 64 h 242"/>
                  <a:gd name="T52" fmla="*/ 8 w 110"/>
                  <a:gd name="T53" fmla="*/ 84 h 242"/>
                  <a:gd name="T54" fmla="*/ 20 w 110"/>
                  <a:gd name="T55" fmla="*/ 98 h 242"/>
                  <a:gd name="T56" fmla="*/ 33 w 110"/>
                  <a:gd name="T57" fmla="*/ 102 h 242"/>
                  <a:gd name="T58" fmla="*/ 43 w 110"/>
                  <a:gd name="T59" fmla="*/ 110 h 242"/>
                  <a:gd name="T60" fmla="*/ 53 w 110"/>
                  <a:gd name="T61" fmla="*/ 120 h 242"/>
                  <a:gd name="T62" fmla="*/ 29 w 110"/>
                  <a:gd name="T63" fmla="*/ 140 h 242"/>
                  <a:gd name="T64" fmla="*/ 6 w 110"/>
                  <a:gd name="T65" fmla="*/ 164 h 24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0" h="242">
                    <a:moveTo>
                      <a:pt x="6" y="164"/>
                    </a:moveTo>
                    <a:lnTo>
                      <a:pt x="0" y="182"/>
                    </a:lnTo>
                    <a:lnTo>
                      <a:pt x="0" y="184"/>
                    </a:lnTo>
                    <a:lnTo>
                      <a:pt x="4" y="182"/>
                    </a:lnTo>
                    <a:lnTo>
                      <a:pt x="8" y="192"/>
                    </a:lnTo>
                    <a:lnTo>
                      <a:pt x="14" y="198"/>
                    </a:lnTo>
                    <a:lnTo>
                      <a:pt x="20" y="206"/>
                    </a:lnTo>
                    <a:lnTo>
                      <a:pt x="38" y="214"/>
                    </a:lnTo>
                    <a:lnTo>
                      <a:pt x="44" y="216"/>
                    </a:lnTo>
                    <a:lnTo>
                      <a:pt x="56" y="218"/>
                    </a:lnTo>
                    <a:lnTo>
                      <a:pt x="62" y="220"/>
                    </a:lnTo>
                    <a:lnTo>
                      <a:pt x="62" y="232"/>
                    </a:lnTo>
                    <a:lnTo>
                      <a:pt x="62" y="238"/>
                    </a:lnTo>
                    <a:lnTo>
                      <a:pt x="66" y="242"/>
                    </a:lnTo>
                    <a:lnTo>
                      <a:pt x="70" y="236"/>
                    </a:lnTo>
                    <a:lnTo>
                      <a:pt x="76" y="226"/>
                    </a:lnTo>
                    <a:lnTo>
                      <a:pt x="76" y="214"/>
                    </a:lnTo>
                    <a:lnTo>
                      <a:pt x="84" y="200"/>
                    </a:lnTo>
                    <a:lnTo>
                      <a:pt x="88" y="190"/>
                    </a:lnTo>
                    <a:lnTo>
                      <a:pt x="100" y="174"/>
                    </a:lnTo>
                    <a:lnTo>
                      <a:pt x="104" y="162"/>
                    </a:lnTo>
                    <a:lnTo>
                      <a:pt x="110" y="150"/>
                    </a:lnTo>
                    <a:lnTo>
                      <a:pt x="108" y="144"/>
                    </a:lnTo>
                    <a:lnTo>
                      <a:pt x="106" y="110"/>
                    </a:lnTo>
                    <a:lnTo>
                      <a:pt x="104" y="84"/>
                    </a:lnTo>
                    <a:lnTo>
                      <a:pt x="98" y="76"/>
                    </a:lnTo>
                    <a:lnTo>
                      <a:pt x="88" y="80"/>
                    </a:lnTo>
                    <a:lnTo>
                      <a:pt x="84" y="82"/>
                    </a:lnTo>
                    <a:lnTo>
                      <a:pt x="80" y="82"/>
                    </a:lnTo>
                    <a:lnTo>
                      <a:pt x="78" y="78"/>
                    </a:lnTo>
                    <a:lnTo>
                      <a:pt x="76" y="82"/>
                    </a:lnTo>
                    <a:lnTo>
                      <a:pt x="74" y="80"/>
                    </a:lnTo>
                    <a:lnTo>
                      <a:pt x="74" y="76"/>
                    </a:lnTo>
                    <a:lnTo>
                      <a:pt x="80" y="64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50"/>
                    </a:lnTo>
                    <a:lnTo>
                      <a:pt x="88" y="42"/>
                    </a:lnTo>
                    <a:lnTo>
                      <a:pt x="90" y="38"/>
                    </a:lnTo>
                    <a:lnTo>
                      <a:pt x="94" y="34"/>
                    </a:lnTo>
                    <a:lnTo>
                      <a:pt x="90" y="24"/>
                    </a:lnTo>
                    <a:lnTo>
                      <a:pt x="26" y="0"/>
                    </a:lnTo>
                    <a:lnTo>
                      <a:pt x="22" y="4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4" y="30"/>
                    </a:lnTo>
                    <a:lnTo>
                      <a:pt x="6" y="40"/>
                    </a:lnTo>
                    <a:lnTo>
                      <a:pt x="4" y="42"/>
                    </a:lnTo>
                    <a:lnTo>
                      <a:pt x="4" y="46"/>
                    </a:lnTo>
                    <a:lnTo>
                      <a:pt x="10" y="52"/>
                    </a:lnTo>
                    <a:lnTo>
                      <a:pt x="10" y="62"/>
                    </a:lnTo>
                    <a:lnTo>
                      <a:pt x="6" y="64"/>
                    </a:lnTo>
                    <a:lnTo>
                      <a:pt x="6" y="82"/>
                    </a:lnTo>
                    <a:lnTo>
                      <a:pt x="8" y="84"/>
                    </a:lnTo>
                    <a:lnTo>
                      <a:pt x="18" y="86"/>
                    </a:lnTo>
                    <a:lnTo>
                      <a:pt x="20" y="98"/>
                    </a:lnTo>
                    <a:lnTo>
                      <a:pt x="30" y="100"/>
                    </a:lnTo>
                    <a:lnTo>
                      <a:pt x="32" y="102"/>
                    </a:lnTo>
                    <a:lnTo>
                      <a:pt x="38" y="106"/>
                    </a:lnTo>
                    <a:lnTo>
                      <a:pt x="42" y="110"/>
                    </a:lnTo>
                    <a:lnTo>
                      <a:pt x="52" y="118"/>
                    </a:lnTo>
                    <a:lnTo>
                      <a:pt x="52" y="120"/>
                    </a:lnTo>
                    <a:lnTo>
                      <a:pt x="40" y="128"/>
                    </a:lnTo>
                    <a:lnTo>
                      <a:pt x="28" y="140"/>
                    </a:lnTo>
                    <a:lnTo>
                      <a:pt x="26" y="150"/>
                    </a:lnTo>
                    <a:lnTo>
                      <a:pt x="6" y="16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Freeform 60">
                <a:extLst>
                  <a:ext uri="{FF2B5EF4-FFF2-40B4-BE49-F238E27FC236}">
                    <a16:creationId xmlns:a16="http://schemas.microsoft.com/office/drawing/2014/main" id="{DDF57B49-1705-4DE2-8AFC-2C20A0B495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4" y="2061"/>
                <a:ext cx="680" cy="354"/>
              </a:xfrm>
              <a:custGeom>
                <a:avLst/>
                <a:gdLst>
                  <a:gd name="T0" fmla="*/ 78 w 678"/>
                  <a:gd name="T1" fmla="*/ 6 h 352"/>
                  <a:gd name="T2" fmla="*/ 0 w 678"/>
                  <a:gd name="T3" fmla="*/ 50 h 352"/>
                  <a:gd name="T4" fmla="*/ 231 w 678"/>
                  <a:gd name="T5" fmla="*/ 257 h 352"/>
                  <a:gd name="T6" fmla="*/ 243 w 678"/>
                  <a:gd name="T7" fmla="*/ 261 h 352"/>
                  <a:gd name="T8" fmla="*/ 261 w 678"/>
                  <a:gd name="T9" fmla="*/ 280 h 352"/>
                  <a:gd name="T10" fmla="*/ 283 w 678"/>
                  <a:gd name="T11" fmla="*/ 272 h 352"/>
                  <a:gd name="T12" fmla="*/ 295 w 678"/>
                  <a:gd name="T13" fmla="*/ 282 h 352"/>
                  <a:gd name="T14" fmla="*/ 299 w 678"/>
                  <a:gd name="T15" fmla="*/ 294 h 352"/>
                  <a:gd name="T16" fmla="*/ 323 w 678"/>
                  <a:gd name="T17" fmla="*/ 300 h 352"/>
                  <a:gd name="T18" fmla="*/ 335 w 678"/>
                  <a:gd name="T19" fmla="*/ 304 h 352"/>
                  <a:gd name="T20" fmla="*/ 343 w 678"/>
                  <a:gd name="T21" fmla="*/ 300 h 352"/>
                  <a:gd name="T22" fmla="*/ 357 w 678"/>
                  <a:gd name="T23" fmla="*/ 312 h 352"/>
                  <a:gd name="T24" fmla="*/ 383 w 678"/>
                  <a:gd name="T25" fmla="*/ 308 h 352"/>
                  <a:gd name="T26" fmla="*/ 391 w 678"/>
                  <a:gd name="T27" fmla="*/ 320 h 352"/>
                  <a:gd name="T28" fmla="*/ 395 w 678"/>
                  <a:gd name="T29" fmla="*/ 332 h 352"/>
                  <a:gd name="T30" fmla="*/ 413 w 678"/>
                  <a:gd name="T31" fmla="*/ 324 h 352"/>
                  <a:gd name="T32" fmla="*/ 439 w 678"/>
                  <a:gd name="T33" fmla="*/ 336 h 352"/>
                  <a:gd name="T34" fmla="*/ 451 w 678"/>
                  <a:gd name="T35" fmla="*/ 332 h 352"/>
                  <a:gd name="T36" fmla="*/ 459 w 678"/>
                  <a:gd name="T37" fmla="*/ 336 h 352"/>
                  <a:gd name="T38" fmla="*/ 461 w 678"/>
                  <a:gd name="T39" fmla="*/ 350 h 352"/>
                  <a:gd name="T40" fmla="*/ 465 w 678"/>
                  <a:gd name="T41" fmla="*/ 340 h 352"/>
                  <a:gd name="T42" fmla="*/ 479 w 678"/>
                  <a:gd name="T43" fmla="*/ 328 h 352"/>
                  <a:gd name="T44" fmla="*/ 483 w 678"/>
                  <a:gd name="T45" fmla="*/ 334 h 352"/>
                  <a:gd name="T46" fmla="*/ 497 w 678"/>
                  <a:gd name="T47" fmla="*/ 336 h 352"/>
                  <a:gd name="T48" fmla="*/ 507 w 678"/>
                  <a:gd name="T49" fmla="*/ 334 h 352"/>
                  <a:gd name="T50" fmla="*/ 507 w 678"/>
                  <a:gd name="T51" fmla="*/ 336 h 352"/>
                  <a:gd name="T52" fmla="*/ 528 w 678"/>
                  <a:gd name="T53" fmla="*/ 350 h 352"/>
                  <a:gd name="T54" fmla="*/ 546 w 678"/>
                  <a:gd name="T55" fmla="*/ 336 h 352"/>
                  <a:gd name="T56" fmla="*/ 578 w 678"/>
                  <a:gd name="T57" fmla="*/ 330 h 352"/>
                  <a:gd name="T58" fmla="*/ 592 w 678"/>
                  <a:gd name="T59" fmla="*/ 328 h 352"/>
                  <a:gd name="T60" fmla="*/ 622 w 678"/>
                  <a:gd name="T61" fmla="*/ 328 h 352"/>
                  <a:gd name="T62" fmla="*/ 662 w 678"/>
                  <a:gd name="T63" fmla="*/ 346 h 352"/>
                  <a:gd name="T64" fmla="*/ 674 w 678"/>
                  <a:gd name="T65" fmla="*/ 352 h 352"/>
                  <a:gd name="T66" fmla="*/ 680 w 678"/>
                  <a:gd name="T67" fmla="*/ 177 h 352"/>
                  <a:gd name="T68" fmla="*/ 664 w 678"/>
                  <a:gd name="T69" fmla="*/ 18 h 35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678" h="352">
                    <a:moveTo>
                      <a:pt x="662" y="18"/>
                    </a:moveTo>
                    <a:lnTo>
                      <a:pt x="78" y="6"/>
                    </a:lnTo>
                    <a:lnTo>
                      <a:pt x="2" y="0"/>
                    </a:lnTo>
                    <a:lnTo>
                      <a:pt x="0" y="50"/>
                    </a:lnTo>
                    <a:lnTo>
                      <a:pt x="236" y="64"/>
                    </a:lnTo>
                    <a:lnTo>
                      <a:pt x="230" y="256"/>
                    </a:lnTo>
                    <a:lnTo>
                      <a:pt x="238" y="256"/>
                    </a:lnTo>
                    <a:lnTo>
                      <a:pt x="242" y="260"/>
                    </a:lnTo>
                    <a:lnTo>
                      <a:pt x="254" y="276"/>
                    </a:lnTo>
                    <a:lnTo>
                      <a:pt x="260" y="278"/>
                    </a:lnTo>
                    <a:lnTo>
                      <a:pt x="276" y="276"/>
                    </a:lnTo>
                    <a:lnTo>
                      <a:pt x="282" y="270"/>
                    </a:lnTo>
                    <a:lnTo>
                      <a:pt x="290" y="276"/>
                    </a:lnTo>
                    <a:lnTo>
                      <a:pt x="294" y="280"/>
                    </a:lnTo>
                    <a:lnTo>
                      <a:pt x="294" y="284"/>
                    </a:lnTo>
                    <a:lnTo>
                      <a:pt x="298" y="292"/>
                    </a:lnTo>
                    <a:lnTo>
                      <a:pt x="300" y="294"/>
                    </a:lnTo>
                    <a:lnTo>
                      <a:pt x="322" y="298"/>
                    </a:lnTo>
                    <a:lnTo>
                      <a:pt x="330" y="302"/>
                    </a:lnTo>
                    <a:lnTo>
                      <a:pt x="334" y="302"/>
                    </a:lnTo>
                    <a:lnTo>
                      <a:pt x="336" y="300"/>
                    </a:lnTo>
                    <a:lnTo>
                      <a:pt x="342" y="298"/>
                    </a:lnTo>
                    <a:lnTo>
                      <a:pt x="346" y="306"/>
                    </a:lnTo>
                    <a:lnTo>
                      <a:pt x="356" y="310"/>
                    </a:lnTo>
                    <a:lnTo>
                      <a:pt x="362" y="304"/>
                    </a:lnTo>
                    <a:lnTo>
                      <a:pt x="382" y="306"/>
                    </a:lnTo>
                    <a:lnTo>
                      <a:pt x="382" y="310"/>
                    </a:lnTo>
                    <a:lnTo>
                      <a:pt x="390" y="318"/>
                    </a:lnTo>
                    <a:lnTo>
                      <a:pt x="394" y="320"/>
                    </a:lnTo>
                    <a:lnTo>
                      <a:pt x="394" y="330"/>
                    </a:lnTo>
                    <a:lnTo>
                      <a:pt x="410" y="334"/>
                    </a:lnTo>
                    <a:lnTo>
                      <a:pt x="412" y="322"/>
                    </a:lnTo>
                    <a:lnTo>
                      <a:pt x="418" y="320"/>
                    </a:lnTo>
                    <a:lnTo>
                      <a:pt x="438" y="334"/>
                    </a:lnTo>
                    <a:lnTo>
                      <a:pt x="442" y="334"/>
                    </a:lnTo>
                    <a:lnTo>
                      <a:pt x="450" y="330"/>
                    </a:lnTo>
                    <a:lnTo>
                      <a:pt x="456" y="330"/>
                    </a:lnTo>
                    <a:lnTo>
                      <a:pt x="458" y="334"/>
                    </a:lnTo>
                    <a:lnTo>
                      <a:pt x="456" y="340"/>
                    </a:lnTo>
                    <a:lnTo>
                      <a:pt x="460" y="348"/>
                    </a:lnTo>
                    <a:lnTo>
                      <a:pt x="466" y="344"/>
                    </a:lnTo>
                    <a:lnTo>
                      <a:pt x="464" y="338"/>
                    </a:lnTo>
                    <a:lnTo>
                      <a:pt x="470" y="330"/>
                    </a:lnTo>
                    <a:lnTo>
                      <a:pt x="478" y="326"/>
                    </a:lnTo>
                    <a:lnTo>
                      <a:pt x="480" y="326"/>
                    </a:lnTo>
                    <a:lnTo>
                      <a:pt x="482" y="332"/>
                    </a:lnTo>
                    <a:lnTo>
                      <a:pt x="492" y="336"/>
                    </a:lnTo>
                    <a:lnTo>
                      <a:pt x="496" y="334"/>
                    </a:lnTo>
                    <a:lnTo>
                      <a:pt x="498" y="330"/>
                    </a:lnTo>
                    <a:lnTo>
                      <a:pt x="506" y="332"/>
                    </a:lnTo>
                    <a:lnTo>
                      <a:pt x="506" y="334"/>
                    </a:lnTo>
                    <a:lnTo>
                      <a:pt x="514" y="340"/>
                    </a:lnTo>
                    <a:lnTo>
                      <a:pt x="526" y="348"/>
                    </a:lnTo>
                    <a:lnTo>
                      <a:pt x="540" y="338"/>
                    </a:lnTo>
                    <a:lnTo>
                      <a:pt x="544" y="334"/>
                    </a:lnTo>
                    <a:lnTo>
                      <a:pt x="562" y="334"/>
                    </a:lnTo>
                    <a:lnTo>
                      <a:pt x="576" y="328"/>
                    </a:lnTo>
                    <a:lnTo>
                      <a:pt x="582" y="326"/>
                    </a:lnTo>
                    <a:lnTo>
                      <a:pt x="590" y="326"/>
                    </a:lnTo>
                    <a:lnTo>
                      <a:pt x="608" y="330"/>
                    </a:lnTo>
                    <a:lnTo>
                      <a:pt x="620" y="326"/>
                    </a:lnTo>
                    <a:lnTo>
                      <a:pt x="622" y="324"/>
                    </a:lnTo>
                    <a:lnTo>
                      <a:pt x="660" y="344"/>
                    </a:lnTo>
                    <a:lnTo>
                      <a:pt x="668" y="346"/>
                    </a:lnTo>
                    <a:lnTo>
                      <a:pt x="672" y="350"/>
                    </a:lnTo>
                    <a:lnTo>
                      <a:pt x="676" y="352"/>
                    </a:lnTo>
                    <a:lnTo>
                      <a:pt x="678" y="176"/>
                    </a:lnTo>
                    <a:lnTo>
                      <a:pt x="664" y="68"/>
                    </a:lnTo>
                    <a:lnTo>
                      <a:pt x="662" y="1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Freeform 61">
                <a:extLst>
                  <a:ext uri="{FF2B5EF4-FFF2-40B4-BE49-F238E27FC236}">
                    <a16:creationId xmlns:a16="http://schemas.microsoft.com/office/drawing/2014/main" id="{DCF444A3-1909-4A22-A79F-821B5A3BA2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86" y="1087"/>
                <a:ext cx="597" cy="457"/>
              </a:xfrm>
              <a:custGeom>
                <a:avLst/>
                <a:gdLst>
                  <a:gd name="T0" fmla="*/ 456 w 594"/>
                  <a:gd name="T1" fmla="*/ 409 h 456"/>
                  <a:gd name="T2" fmla="*/ 448 w 594"/>
                  <a:gd name="T3" fmla="*/ 425 h 456"/>
                  <a:gd name="T4" fmla="*/ 442 w 594"/>
                  <a:gd name="T5" fmla="*/ 439 h 456"/>
                  <a:gd name="T6" fmla="*/ 438 w 594"/>
                  <a:gd name="T7" fmla="*/ 457 h 456"/>
                  <a:gd name="T8" fmla="*/ 452 w 594"/>
                  <a:gd name="T9" fmla="*/ 441 h 456"/>
                  <a:gd name="T10" fmla="*/ 476 w 594"/>
                  <a:gd name="T11" fmla="*/ 439 h 456"/>
                  <a:gd name="T12" fmla="*/ 509 w 594"/>
                  <a:gd name="T13" fmla="*/ 425 h 456"/>
                  <a:gd name="T14" fmla="*/ 563 w 594"/>
                  <a:gd name="T15" fmla="*/ 387 h 456"/>
                  <a:gd name="T16" fmla="*/ 581 w 594"/>
                  <a:gd name="T17" fmla="*/ 373 h 456"/>
                  <a:gd name="T18" fmla="*/ 597 w 594"/>
                  <a:gd name="T19" fmla="*/ 357 h 456"/>
                  <a:gd name="T20" fmla="*/ 589 w 594"/>
                  <a:gd name="T21" fmla="*/ 361 h 456"/>
                  <a:gd name="T22" fmla="*/ 567 w 594"/>
                  <a:gd name="T23" fmla="*/ 371 h 456"/>
                  <a:gd name="T24" fmla="*/ 553 w 594"/>
                  <a:gd name="T25" fmla="*/ 379 h 456"/>
                  <a:gd name="T26" fmla="*/ 569 w 594"/>
                  <a:gd name="T27" fmla="*/ 353 h 456"/>
                  <a:gd name="T28" fmla="*/ 557 w 594"/>
                  <a:gd name="T29" fmla="*/ 365 h 456"/>
                  <a:gd name="T30" fmla="*/ 507 w 594"/>
                  <a:gd name="T31" fmla="*/ 393 h 456"/>
                  <a:gd name="T32" fmla="*/ 468 w 594"/>
                  <a:gd name="T33" fmla="*/ 419 h 456"/>
                  <a:gd name="T34" fmla="*/ 466 w 594"/>
                  <a:gd name="T35" fmla="*/ 399 h 456"/>
                  <a:gd name="T36" fmla="*/ 476 w 594"/>
                  <a:gd name="T37" fmla="*/ 373 h 456"/>
                  <a:gd name="T38" fmla="*/ 462 w 594"/>
                  <a:gd name="T39" fmla="*/ 289 h 456"/>
                  <a:gd name="T40" fmla="*/ 452 w 594"/>
                  <a:gd name="T41" fmla="*/ 200 h 456"/>
                  <a:gd name="T42" fmla="*/ 442 w 594"/>
                  <a:gd name="T43" fmla="*/ 146 h 456"/>
                  <a:gd name="T44" fmla="*/ 430 w 594"/>
                  <a:gd name="T45" fmla="*/ 136 h 456"/>
                  <a:gd name="T46" fmla="*/ 428 w 594"/>
                  <a:gd name="T47" fmla="*/ 120 h 456"/>
                  <a:gd name="T48" fmla="*/ 420 w 594"/>
                  <a:gd name="T49" fmla="*/ 70 h 456"/>
                  <a:gd name="T50" fmla="*/ 404 w 594"/>
                  <a:gd name="T51" fmla="*/ 18 h 456"/>
                  <a:gd name="T52" fmla="*/ 396 w 594"/>
                  <a:gd name="T53" fmla="*/ 0 h 456"/>
                  <a:gd name="T54" fmla="*/ 302 w 594"/>
                  <a:gd name="T55" fmla="*/ 20 h 456"/>
                  <a:gd name="T56" fmla="*/ 267 w 594"/>
                  <a:gd name="T57" fmla="*/ 48 h 456"/>
                  <a:gd name="T58" fmla="*/ 243 w 594"/>
                  <a:gd name="T59" fmla="*/ 90 h 456"/>
                  <a:gd name="T60" fmla="*/ 211 w 594"/>
                  <a:gd name="T61" fmla="*/ 130 h 456"/>
                  <a:gd name="T62" fmla="*/ 215 w 594"/>
                  <a:gd name="T63" fmla="*/ 146 h 456"/>
                  <a:gd name="T64" fmla="*/ 227 w 594"/>
                  <a:gd name="T65" fmla="*/ 154 h 456"/>
                  <a:gd name="T66" fmla="*/ 229 w 594"/>
                  <a:gd name="T67" fmla="*/ 174 h 456"/>
                  <a:gd name="T68" fmla="*/ 191 w 594"/>
                  <a:gd name="T69" fmla="*/ 218 h 456"/>
                  <a:gd name="T70" fmla="*/ 125 w 594"/>
                  <a:gd name="T71" fmla="*/ 231 h 456"/>
                  <a:gd name="T72" fmla="*/ 72 w 594"/>
                  <a:gd name="T73" fmla="*/ 235 h 456"/>
                  <a:gd name="T74" fmla="*/ 38 w 594"/>
                  <a:gd name="T75" fmla="*/ 263 h 456"/>
                  <a:gd name="T76" fmla="*/ 56 w 594"/>
                  <a:gd name="T77" fmla="*/ 297 h 456"/>
                  <a:gd name="T78" fmla="*/ 42 w 594"/>
                  <a:gd name="T79" fmla="*/ 321 h 456"/>
                  <a:gd name="T80" fmla="*/ 6 w 594"/>
                  <a:gd name="T81" fmla="*/ 387 h 456"/>
                  <a:gd name="T82" fmla="*/ 334 w 594"/>
                  <a:gd name="T83" fmla="*/ 331 h 456"/>
                  <a:gd name="T84" fmla="*/ 342 w 594"/>
                  <a:gd name="T85" fmla="*/ 337 h 456"/>
                  <a:gd name="T86" fmla="*/ 358 w 594"/>
                  <a:gd name="T87" fmla="*/ 363 h 456"/>
                  <a:gd name="T88" fmla="*/ 382 w 594"/>
                  <a:gd name="T89" fmla="*/ 371 h 45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594" h="456">
                    <a:moveTo>
                      <a:pt x="386" y="374"/>
                    </a:moveTo>
                    <a:lnTo>
                      <a:pt x="450" y="398"/>
                    </a:lnTo>
                    <a:lnTo>
                      <a:pt x="454" y="408"/>
                    </a:lnTo>
                    <a:lnTo>
                      <a:pt x="450" y="412"/>
                    </a:lnTo>
                    <a:lnTo>
                      <a:pt x="448" y="416"/>
                    </a:lnTo>
                    <a:lnTo>
                      <a:pt x="446" y="424"/>
                    </a:lnTo>
                    <a:lnTo>
                      <a:pt x="446" y="434"/>
                    </a:lnTo>
                    <a:lnTo>
                      <a:pt x="442" y="434"/>
                    </a:lnTo>
                    <a:lnTo>
                      <a:pt x="440" y="438"/>
                    </a:lnTo>
                    <a:lnTo>
                      <a:pt x="434" y="450"/>
                    </a:lnTo>
                    <a:lnTo>
                      <a:pt x="434" y="454"/>
                    </a:lnTo>
                    <a:lnTo>
                      <a:pt x="436" y="456"/>
                    </a:lnTo>
                    <a:lnTo>
                      <a:pt x="438" y="452"/>
                    </a:lnTo>
                    <a:lnTo>
                      <a:pt x="440" y="450"/>
                    </a:lnTo>
                    <a:lnTo>
                      <a:pt x="450" y="440"/>
                    </a:lnTo>
                    <a:lnTo>
                      <a:pt x="456" y="442"/>
                    </a:lnTo>
                    <a:lnTo>
                      <a:pt x="470" y="442"/>
                    </a:lnTo>
                    <a:lnTo>
                      <a:pt x="474" y="438"/>
                    </a:lnTo>
                    <a:lnTo>
                      <a:pt x="488" y="434"/>
                    </a:lnTo>
                    <a:lnTo>
                      <a:pt x="500" y="430"/>
                    </a:lnTo>
                    <a:lnTo>
                      <a:pt x="506" y="424"/>
                    </a:lnTo>
                    <a:lnTo>
                      <a:pt x="514" y="416"/>
                    </a:lnTo>
                    <a:lnTo>
                      <a:pt x="550" y="392"/>
                    </a:lnTo>
                    <a:lnTo>
                      <a:pt x="560" y="386"/>
                    </a:lnTo>
                    <a:lnTo>
                      <a:pt x="568" y="380"/>
                    </a:lnTo>
                    <a:lnTo>
                      <a:pt x="574" y="378"/>
                    </a:lnTo>
                    <a:lnTo>
                      <a:pt x="578" y="372"/>
                    </a:lnTo>
                    <a:lnTo>
                      <a:pt x="586" y="368"/>
                    </a:lnTo>
                    <a:lnTo>
                      <a:pt x="590" y="364"/>
                    </a:lnTo>
                    <a:lnTo>
                      <a:pt x="594" y="356"/>
                    </a:lnTo>
                    <a:lnTo>
                      <a:pt x="594" y="354"/>
                    </a:lnTo>
                    <a:lnTo>
                      <a:pt x="594" y="352"/>
                    </a:lnTo>
                    <a:lnTo>
                      <a:pt x="586" y="360"/>
                    </a:lnTo>
                    <a:lnTo>
                      <a:pt x="578" y="362"/>
                    </a:lnTo>
                    <a:lnTo>
                      <a:pt x="568" y="366"/>
                    </a:lnTo>
                    <a:lnTo>
                      <a:pt x="564" y="370"/>
                    </a:lnTo>
                    <a:lnTo>
                      <a:pt x="560" y="376"/>
                    </a:lnTo>
                    <a:lnTo>
                      <a:pt x="552" y="382"/>
                    </a:lnTo>
                    <a:lnTo>
                      <a:pt x="550" y="378"/>
                    </a:lnTo>
                    <a:lnTo>
                      <a:pt x="552" y="372"/>
                    </a:lnTo>
                    <a:lnTo>
                      <a:pt x="560" y="364"/>
                    </a:lnTo>
                    <a:lnTo>
                      <a:pt x="566" y="352"/>
                    </a:lnTo>
                    <a:lnTo>
                      <a:pt x="564" y="350"/>
                    </a:lnTo>
                    <a:lnTo>
                      <a:pt x="558" y="356"/>
                    </a:lnTo>
                    <a:lnTo>
                      <a:pt x="554" y="364"/>
                    </a:lnTo>
                    <a:lnTo>
                      <a:pt x="548" y="368"/>
                    </a:lnTo>
                    <a:lnTo>
                      <a:pt x="528" y="380"/>
                    </a:lnTo>
                    <a:lnTo>
                      <a:pt x="504" y="392"/>
                    </a:lnTo>
                    <a:lnTo>
                      <a:pt x="482" y="402"/>
                    </a:lnTo>
                    <a:lnTo>
                      <a:pt x="474" y="408"/>
                    </a:lnTo>
                    <a:lnTo>
                      <a:pt x="466" y="418"/>
                    </a:lnTo>
                    <a:lnTo>
                      <a:pt x="462" y="414"/>
                    </a:lnTo>
                    <a:lnTo>
                      <a:pt x="460" y="406"/>
                    </a:lnTo>
                    <a:lnTo>
                      <a:pt x="464" y="398"/>
                    </a:lnTo>
                    <a:lnTo>
                      <a:pt x="470" y="392"/>
                    </a:lnTo>
                    <a:lnTo>
                      <a:pt x="462" y="384"/>
                    </a:lnTo>
                    <a:lnTo>
                      <a:pt x="474" y="372"/>
                    </a:lnTo>
                    <a:lnTo>
                      <a:pt x="474" y="368"/>
                    </a:lnTo>
                    <a:lnTo>
                      <a:pt x="470" y="360"/>
                    </a:lnTo>
                    <a:lnTo>
                      <a:pt x="460" y="288"/>
                    </a:lnTo>
                    <a:lnTo>
                      <a:pt x="458" y="284"/>
                    </a:lnTo>
                    <a:lnTo>
                      <a:pt x="458" y="216"/>
                    </a:lnTo>
                    <a:lnTo>
                      <a:pt x="450" y="200"/>
                    </a:lnTo>
                    <a:lnTo>
                      <a:pt x="444" y="184"/>
                    </a:lnTo>
                    <a:lnTo>
                      <a:pt x="444" y="170"/>
                    </a:lnTo>
                    <a:lnTo>
                      <a:pt x="440" y="146"/>
                    </a:lnTo>
                    <a:lnTo>
                      <a:pt x="432" y="132"/>
                    </a:lnTo>
                    <a:lnTo>
                      <a:pt x="428" y="134"/>
                    </a:lnTo>
                    <a:lnTo>
                      <a:pt x="428" y="136"/>
                    </a:lnTo>
                    <a:lnTo>
                      <a:pt x="426" y="138"/>
                    </a:lnTo>
                    <a:lnTo>
                      <a:pt x="424" y="132"/>
                    </a:lnTo>
                    <a:lnTo>
                      <a:pt x="426" y="120"/>
                    </a:lnTo>
                    <a:lnTo>
                      <a:pt x="414" y="92"/>
                    </a:lnTo>
                    <a:lnTo>
                      <a:pt x="412" y="82"/>
                    </a:lnTo>
                    <a:lnTo>
                      <a:pt x="418" y="70"/>
                    </a:lnTo>
                    <a:lnTo>
                      <a:pt x="414" y="50"/>
                    </a:lnTo>
                    <a:lnTo>
                      <a:pt x="402" y="22"/>
                    </a:lnTo>
                    <a:lnTo>
                      <a:pt x="402" y="18"/>
                    </a:lnTo>
                    <a:lnTo>
                      <a:pt x="398" y="14"/>
                    </a:lnTo>
                    <a:lnTo>
                      <a:pt x="400" y="10"/>
                    </a:lnTo>
                    <a:lnTo>
                      <a:pt x="394" y="0"/>
                    </a:lnTo>
                    <a:lnTo>
                      <a:pt x="300" y="24"/>
                    </a:lnTo>
                    <a:lnTo>
                      <a:pt x="300" y="20"/>
                    </a:lnTo>
                    <a:lnTo>
                      <a:pt x="296" y="20"/>
                    </a:lnTo>
                    <a:lnTo>
                      <a:pt x="288" y="26"/>
                    </a:lnTo>
                    <a:lnTo>
                      <a:pt x="266" y="48"/>
                    </a:lnTo>
                    <a:lnTo>
                      <a:pt x="244" y="80"/>
                    </a:lnTo>
                    <a:lnTo>
                      <a:pt x="240" y="86"/>
                    </a:lnTo>
                    <a:lnTo>
                      <a:pt x="242" y="90"/>
                    </a:lnTo>
                    <a:lnTo>
                      <a:pt x="238" y="102"/>
                    </a:lnTo>
                    <a:lnTo>
                      <a:pt x="234" y="108"/>
                    </a:lnTo>
                    <a:lnTo>
                      <a:pt x="210" y="130"/>
                    </a:lnTo>
                    <a:lnTo>
                      <a:pt x="208" y="134"/>
                    </a:lnTo>
                    <a:lnTo>
                      <a:pt x="212" y="144"/>
                    </a:lnTo>
                    <a:lnTo>
                      <a:pt x="214" y="146"/>
                    </a:lnTo>
                    <a:lnTo>
                      <a:pt x="220" y="144"/>
                    </a:lnTo>
                    <a:lnTo>
                      <a:pt x="224" y="148"/>
                    </a:lnTo>
                    <a:lnTo>
                      <a:pt x="226" y="154"/>
                    </a:lnTo>
                    <a:lnTo>
                      <a:pt x="220" y="158"/>
                    </a:lnTo>
                    <a:lnTo>
                      <a:pt x="222" y="166"/>
                    </a:lnTo>
                    <a:lnTo>
                      <a:pt x="228" y="174"/>
                    </a:lnTo>
                    <a:lnTo>
                      <a:pt x="228" y="188"/>
                    </a:lnTo>
                    <a:lnTo>
                      <a:pt x="212" y="194"/>
                    </a:lnTo>
                    <a:lnTo>
                      <a:pt x="190" y="218"/>
                    </a:lnTo>
                    <a:lnTo>
                      <a:pt x="174" y="224"/>
                    </a:lnTo>
                    <a:lnTo>
                      <a:pt x="136" y="234"/>
                    </a:lnTo>
                    <a:lnTo>
                      <a:pt x="124" y="230"/>
                    </a:lnTo>
                    <a:lnTo>
                      <a:pt x="114" y="228"/>
                    </a:lnTo>
                    <a:lnTo>
                      <a:pt x="94" y="230"/>
                    </a:lnTo>
                    <a:lnTo>
                      <a:pt x="72" y="234"/>
                    </a:lnTo>
                    <a:lnTo>
                      <a:pt x="52" y="242"/>
                    </a:lnTo>
                    <a:lnTo>
                      <a:pt x="40" y="248"/>
                    </a:lnTo>
                    <a:lnTo>
                      <a:pt x="38" y="262"/>
                    </a:lnTo>
                    <a:lnTo>
                      <a:pt x="38" y="270"/>
                    </a:lnTo>
                    <a:lnTo>
                      <a:pt x="54" y="288"/>
                    </a:lnTo>
                    <a:lnTo>
                      <a:pt x="56" y="296"/>
                    </a:lnTo>
                    <a:lnTo>
                      <a:pt x="54" y="302"/>
                    </a:lnTo>
                    <a:lnTo>
                      <a:pt x="48" y="306"/>
                    </a:lnTo>
                    <a:lnTo>
                      <a:pt x="42" y="320"/>
                    </a:lnTo>
                    <a:lnTo>
                      <a:pt x="12" y="350"/>
                    </a:lnTo>
                    <a:lnTo>
                      <a:pt x="0" y="360"/>
                    </a:lnTo>
                    <a:lnTo>
                      <a:pt x="6" y="386"/>
                    </a:lnTo>
                    <a:lnTo>
                      <a:pt x="324" y="322"/>
                    </a:lnTo>
                    <a:lnTo>
                      <a:pt x="330" y="326"/>
                    </a:lnTo>
                    <a:lnTo>
                      <a:pt x="332" y="330"/>
                    </a:lnTo>
                    <a:lnTo>
                      <a:pt x="334" y="334"/>
                    </a:lnTo>
                    <a:lnTo>
                      <a:pt x="338" y="332"/>
                    </a:lnTo>
                    <a:lnTo>
                      <a:pt x="340" y="336"/>
                    </a:lnTo>
                    <a:lnTo>
                      <a:pt x="346" y="336"/>
                    </a:lnTo>
                    <a:lnTo>
                      <a:pt x="356" y="356"/>
                    </a:lnTo>
                    <a:lnTo>
                      <a:pt x="356" y="362"/>
                    </a:lnTo>
                    <a:lnTo>
                      <a:pt x="360" y="366"/>
                    </a:lnTo>
                    <a:lnTo>
                      <a:pt x="360" y="368"/>
                    </a:lnTo>
                    <a:lnTo>
                      <a:pt x="380" y="370"/>
                    </a:lnTo>
                    <a:lnTo>
                      <a:pt x="386" y="37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Freeform 62">
                <a:extLst>
                  <a:ext uri="{FF2B5EF4-FFF2-40B4-BE49-F238E27FC236}">
                    <a16:creationId xmlns:a16="http://schemas.microsoft.com/office/drawing/2014/main" id="{ABA3814C-EE43-4B1C-9EB8-8480B1FAF4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38" y="1410"/>
                <a:ext cx="462" cy="301"/>
              </a:xfrm>
              <a:custGeom>
                <a:avLst/>
                <a:gdLst>
                  <a:gd name="T0" fmla="*/ 114 w 460"/>
                  <a:gd name="T1" fmla="*/ 285 h 298"/>
                  <a:gd name="T2" fmla="*/ 323 w 460"/>
                  <a:gd name="T3" fmla="*/ 244 h 298"/>
                  <a:gd name="T4" fmla="*/ 390 w 460"/>
                  <a:gd name="T5" fmla="*/ 232 h 298"/>
                  <a:gd name="T6" fmla="*/ 392 w 460"/>
                  <a:gd name="T7" fmla="*/ 230 h 298"/>
                  <a:gd name="T8" fmla="*/ 394 w 460"/>
                  <a:gd name="T9" fmla="*/ 230 h 298"/>
                  <a:gd name="T10" fmla="*/ 394 w 460"/>
                  <a:gd name="T11" fmla="*/ 224 h 298"/>
                  <a:gd name="T12" fmla="*/ 402 w 460"/>
                  <a:gd name="T13" fmla="*/ 216 h 298"/>
                  <a:gd name="T14" fmla="*/ 410 w 460"/>
                  <a:gd name="T15" fmla="*/ 216 h 298"/>
                  <a:gd name="T16" fmla="*/ 416 w 460"/>
                  <a:gd name="T17" fmla="*/ 218 h 298"/>
                  <a:gd name="T18" fmla="*/ 436 w 460"/>
                  <a:gd name="T19" fmla="*/ 204 h 298"/>
                  <a:gd name="T20" fmla="*/ 438 w 460"/>
                  <a:gd name="T21" fmla="*/ 194 h 298"/>
                  <a:gd name="T22" fmla="*/ 450 w 460"/>
                  <a:gd name="T23" fmla="*/ 182 h 298"/>
                  <a:gd name="T24" fmla="*/ 462 w 460"/>
                  <a:gd name="T25" fmla="*/ 174 h 298"/>
                  <a:gd name="T26" fmla="*/ 462 w 460"/>
                  <a:gd name="T27" fmla="*/ 172 h 298"/>
                  <a:gd name="T28" fmla="*/ 452 w 460"/>
                  <a:gd name="T29" fmla="*/ 164 h 298"/>
                  <a:gd name="T30" fmla="*/ 448 w 460"/>
                  <a:gd name="T31" fmla="*/ 160 h 298"/>
                  <a:gd name="T32" fmla="*/ 442 w 460"/>
                  <a:gd name="T33" fmla="*/ 156 h 298"/>
                  <a:gd name="T34" fmla="*/ 440 w 460"/>
                  <a:gd name="T35" fmla="*/ 154 h 298"/>
                  <a:gd name="T36" fmla="*/ 430 w 460"/>
                  <a:gd name="T37" fmla="*/ 152 h 298"/>
                  <a:gd name="T38" fmla="*/ 428 w 460"/>
                  <a:gd name="T39" fmla="*/ 139 h 298"/>
                  <a:gd name="T40" fmla="*/ 418 w 460"/>
                  <a:gd name="T41" fmla="*/ 137 h 298"/>
                  <a:gd name="T42" fmla="*/ 416 w 460"/>
                  <a:gd name="T43" fmla="*/ 135 h 298"/>
                  <a:gd name="T44" fmla="*/ 416 w 460"/>
                  <a:gd name="T45" fmla="*/ 117 h 298"/>
                  <a:gd name="T46" fmla="*/ 420 w 460"/>
                  <a:gd name="T47" fmla="*/ 115 h 298"/>
                  <a:gd name="T48" fmla="*/ 420 w 460"/>
                  <a:gd name="T49" fmla="*/ 105 h 298"/>
                  <a:gd name="T50" fmla="*/ 414 w 460"/>
                  <a:gd name="T51" fmla="*/ 99 h 298"/>
                  <a:gd name="T52" fmla="*/ 414 w 460"/>
                  <a:gd name="T53" fmla="*/ 95 h 298"/>
                  <a:gd name="T54" fmla="*/ 416 w 460"/>
                  <a:gd name="T55" fmla="*/ 93 h 298"/>
                  <a:gd name="T56" fmla="*/ 424 w 460"/>
                  <a:gd name="T57" fmla="*/ 83 h 298"/>
                  <a:gd name="T58" fmla="*/ 428 w 460"/>
                  <a:gd name="T59" fmla="*/ 69 h 298"/>
                  <a:gd name="T60" fmla="*/ 428 w 460"/>
                  <a:gd name="T61" fmla="*/ 65 h 298"/>
                  <a:gd name="T62" fmla="*/ 432 w 460"/>
                  <a:gd name="T63" fmla="*/ 57 h 298"/>
                  <a:gd name="T64" fmla="*/ 436 w 460"/>
                  <a:gd name="T65" fmla="*/ 53 h 298"/>
                  <a:gd name="T66" fmla="*/ 430 w 460"/>
                  <a:gd name="T67" fmla="*/ 48 h 298"/>
                  <a:gd name="T68" fmla="*/ 410 w 460"/>
                  <a:gd name="T69" fmla="*/ 46 h 298"/>
                  <a:gd name="T70" fmla="*/ 410 w 460"/>
                  <a:gd name="T71" fmla="*/ 44 h 298"/>
                  <a:gd name="T72" fmla="*/ 406 w 460"/>
                  <a:gd name="T73" fmla="*/ 40 h 298"/>
                  <a:gd name="T74" fmla="*/ 406 w 460"/>
                  <a:gd name="T75" fmla="*/ 34 h 298"/>
                  <a:gd name="T76" fmla="*/ 396 w 460"/>
                  <a:gd name="T77" fmla="*/ 14 h 298"/>
                  <a:gd name="T78" fmla="*/ 390 w 460"/>
                  <a:gd name="T79" fmla="*/ 14 h 298"/>
                  <a:gd name="T80" fmla="*/ 388 w 460"/>
                  <a:gd name="T81" fmla="*/ 10 h 298"/>
                  <a:gd name="T82" fmla="*/ 384 w 460"/>
                  <a:gd name="T83" fmla="*/ 12 h 298"/>
                  <a:gd name="T84" fmla="*/ 382 w 460"/>
                  <a:gd name="T85" fmla="*/ 8 h 298"/>
                  <a:gd name="T86" fmla="*/ 380 w 460"/>
                  <a:gd name="T87" fmla="*/ 4 h 298"/>
                  <a:gd name="T88" fmla="*/ 374 w 460"/>
                  <a:gd name="T89" fmla="*/ 0 h 298"/>
                  <a:gd name="T90" fmla="*/ 54 w 460"/>
                  <a:gd name="T91" fmla="*/ 65 h 298"/>
                  <a:gd name="T92" fmla="*/ 48 w 460"/>
                  <a:gd name="T93" fmla="*/ 38 h 298"/>
                  <a:gd name="T94" fmla="*/ 32 w 460"/>
                  <a:gd name="T95" fmla="*/ 55 h 298"/>
                  <a:gd name="T96" fmla="*/ 28 w 460"/>
                  <a:gd name="T97" fmla="*/ 57 h 298"/>
                  <a:gd name="T98" fmla="*/ 26 w 460"/>
                  <a:gd name="T99" fmla="*/ 53 h 298"/>
                  <a:gd name="T100" fmla="*/ 24 w 460"/>
                  <a:gd name="T101" fmla="*/ 53 h 298"/>
                  <a:gd name="T102" fmla="*/ 20 w 460"/>
                  <a:gd name="T103" fmla="*/ 63 h 298"/>
                  <a:gd name="T104" fmla="*/ 4 w 460"/>
                  <a:gd name="T105" fmla="*/ 75 h 298"/>
                  <a:gd name="T106" fmla="*/ 0 w 460"/>
                  <a:gd name="T107" fmla="*/ 79 h 298"/>
                  <a:gd name="T108" fmla="*/ 22 w 460"/>
                  <a:gd name="T109" fmla="*/ 212 h 298"/>
                  <a:gd name="T110" fmla="*/ 38 w 460"/>
                  <a:gd name="T111" fmla="*/ 301 h 298"/>
                  <a:gd name="T112" fmla="*/ 114 w 460"/>
                  <a:gd name="T113" fmla="*/ 285 h 29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460" h="298">
                    <a:moveTo>
                      <a:pt x="114" y="282"/>
                    </a:moveTo>
                    <a:lnTo>
                      <a:pt x="322" y="242"/>
                    </a:lnTo>
                    <a:lnTo>
                      <a:pt x="388" y="230"/>
                    </a:lnTo>
                    <a:lnTo>
                      <a:pt x="390" y="228"/>
                    </a:lnTo>
                    <a:lnTo>
                      <a:pt x="392" y="228"/>
                    </a:lnTo>
                    <a:lnTo>
                      <a:pt x="392" y="222"/>
                    </a:lnTo>
                    <a:lnTo>
                      <a:pt x="400" y="214"/>
                    </a:lnTo>
                    <a:lnTo>
                      <a:pt x="408" y="214"/>
                    </a:lnTo>
                    <a:lnTo>
                      <a:pt x="414" y="216"/>
                    </a:lnTo>
                    <a:lnTo>
                      <a:pt x="434" y="202"/>
                    </a:lnTo>
                    <a:lnTo>
                      <a:pt x="436" y="192"/>
                    </a:lnTo>
                    <a:lnTo>
                      <a:pt x="448" y="180"/>
                    </a:lnTo>
                    <a:lnTo>
                      <a:pt x="460" y="172"/>
                    </a:lnTo>
                    <a:lnTo>
                      <a:pt x="460" y="170"/>
                    </a:lnTo>
                    <a:lnTo>
                      <a:pt x="450" y="162"/>
                    </a:lnTo>
                    <a:lnTo>
                      <a:pt x="446" y="158"/>
                    </a:lnTo>
                    <a:lnTo>
                      <a:pt x="440" y="154"/>
                    </a:lnTo>
                    <a:lnTo>
                      <a:pt x="438" y="152"/>
                    </a:lnTo>
                    <a:lnTo>
                      <a:pt x="428" y="150"/>
                    </a:lnTo>
                    <a:lnTo>
                      <a:pt x="426" y="138"/>
                    </a:lnTo>
                    <a:lnTo>
                      <a:pt x="416" y="136"/>
                    </a:lnTo>
                    <a:lnTo>
                      <a:pt x="414" y="134"/>
                    </a:lnTo>
                    <a:lnTo>
                      <a:pt x="414" y="116"/>
                    </a:lnTo>
                    <a:lnTo>
                      <a:pt x="418" y="114"/>
                    </a:lnTo>
                    <a:lnTo>
                      <a:pt x="418" y="104"/>
                    </a:lnTo>
                    <a:lnTo>
                      <a:pt x="412" y="98"/>
                    </a:lnTo>
                    <a:lnTo>
                      <a:pt x="412" y="94"/>
                    </a:lnTo>
                    <a:lnTo>
                      <a:pt x="414" y="92"/>
                    </a:lnTo>
                    <a:lnTo>
                      <a:pt x="422" y="82"/>
                    </a:lnTo>
                    <a:lnTo>
                      <a:pt x="426" y="68"/>
                    </a:lnTo>
                    <a:lnTo>
                      <a:pt x="426" y="64"/>
                    </a:lnTo>
                    <a:lnTo>
                      <a:pt x="430" y="56"/>
                    </a:lnTo>
                    <a:lnTo>
                      <a:pt x="434" y="52"/>
                    </a:lnTo>
                    <a:lnTo>
                      <a:pt x="428" y="48"/>
                    </a:lnTo>
                    <a:lnTo>
                      <a:pt x="408" y="46"/>
                    </a:lnTo>
                    <a:lnTo>
                      <a:pt x="408" y="44"/>
                    </a:lnTo>
                    <a:lnTo>
                      <a:pt x="404" y="40"/>
                    </a:lnTo>
                    <a:lnTo>
                      <a:pt x="404" y="34"/>
                    </a:lnTo>
                    <a:lnTo>
                      <a:pt x="394" y="14"/>
                    </a:lnTo>
                    <a:lnTo>
                      <a:pt x="388" y="14"/>
                    </a:lnTo>
                    <a:lnTo>
                      <a:pt x="386" y="10"/>
                    </a:lnTo>
                    <a:lnTo>
                      <a:pt x="382" y="12"/>
                    </a:lnTo>
                    <a:lnTo>
                      <a:pt x="380" y="8"/>
                    </a:lnTo>
                    <a:lnTo>
                      <a:pt x="378" y="4"/>
                    </a:lnTo>
                    <a:lnTo>
                      <a:pt x="372" y="0"/>
                    </a:lnTo>
                    <a:lnTo>
                      <a:pt x="54" y="64"/>
                    </a:lnTo>
                    <a:lnTo>
                      <a:pt x="48" y="38"/>
                    </a:lnTo>
                    <a:lnTo>
                      <a:pt x="32" y="54"/>
                    </a:lnTo>
                    <a:lnTo>
                      <a:pt x="28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0" y="62"/>
                    </a:lnTo>
                    <a:lnTo>
                      <a:pt x="4" y="74"/>
                    </a:lnTo>
                    <a:lnTo>
                      <a:pt x="0" y="78"/>
                    </a:lnTo>
                    <a:lnTo>
                      <a:pt x="22" y="210"/>
                    </a:lnTo>
                    <a:lnTo>
                      <a:pt x="38" y="298"/>
                    </a:lnTo>
                    <a:lnTo>
                      <a:pt x="114" y="28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Freeform 63">
                <a:extLst>
                  <a:ext uri="{FF2B5EF4-FFF2-40B4-BE49-F238E27FC236}">
                    <a16:creationId xmlns:a16="http://schemas.microsoft.com/office/drawing/2014/main" id="{576B7FD2-4CCF-4B48-9B5A-1399147EB9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48" y="1347"/>
                <a:ext cx="135" cy="132"/>
              </a:xfrm>
              <a:custGeom>
                <a:avLst/>
                <a:gdLst>
                  <a:gd name="T0" fmla="*/ 0 w 134"/>
                  <a:gd name="T1" fmla="*/ 30 h 134"/>
                  <a:gd name="T2" fmla="*/ 46 w 134"/>
                  <a:gd name="T3" fmla="*/ 18 h 134"/>
                  <a:gd name="T4" fmla="*/ 50 w 134"/>
                  <a:gd name="T5" fmla="*/ 24 h 134"/>
                  <a:gd name="T6" fmla="*/ 50 w 134"/>
                  <a:gd name="T7" fmla="*/ 22 h 134"/>
                  <a:gd name="T8" fmla="*/ 52 w 134"/>
                  <a:gd name="T9" fmla="*/ 18 h 134"/>
                  <a:gd name="T10" fmla="*/ 121 w 134"/>
                  <a:gd name="T11" fmla="*/ 0 h 134"/>
                  <a:gd name="T12" fmla="*/ 135 w 134"/>
                  <a:gd name="T13" fmla="*/ 55 h 134"/>
                  <a:gd name="T14" fmla="*/ 133 w 134"/>
                  <a:gd name="T15" fmla="*/ 61 h 134"/>
                  <a:gd name="T16" fmla="*/ 133 w 134"/>
                  <a:gd name="T17" fmla="*/ 63 h 134"/>
                  <a:gd name="T18" fmla="*/ 133 w 134"/>
                  <a:gd name="T19" fmla="*/ 67 h 134"/>
                  <a:gd name="T20" fmla="*/ 133 w 134"/>
                  <a:gd name="T21" fmla="*/ 69 h 134"/>
                  <a:gd name="T22" fmla="*/ 125 w 134"/>
                  <a:gd name="T23" fmla="*/ 69 h 134"/>
                  <a:gd name="T24" fmla="*/ 103 w 134"/>
                  <a:gd name="T25" fmla="*/ 79 h 134"/>
                  <a:gd name="T26" fmla="*/ 97 w 134"/>
                  <a:gd name="T27" fmla="*/ 79 h 134"/>
                  <a:gd name="T28" fmla="*/ 95 w 134"/>
                  <a:gd name="T29" fmla="*/ 81 h 134"/>
                  <a:gd name="T30" fmla="*/ 93 w 134"/>
                  <a:gd name="T31" fmla="*/ 85 h 134"/>
                  <a:gd name="T32" fmla="*/ 93 w 134"/>
                  <a:gd name="T33" fmla="*/ 87 h 134"/>
                  <a:gd name="T34" fmla="*/ 79 w 134"/>
                  <a:gd name="T35" fmla="*/ 89 h 134"/>
                  <a:gd name="T36" fmla="*/ 60 w 134"/>
                  <a:gd name="T37" fmla="*/ 97 h 134"/>
                  <a:gd name="T38" fmla="*/ 58 w 134"/>
                  <a:gd name="T39" fmla="*/ 93 h 134"/>
                  <a:gd name="T40" fmla="*/ 46 w 134"/>
                  <a:gd name="T41" fmla="*/ 104 h 134"/>
                  <a:gd name="T42" fmla="*/ 20 w 134"/>
                  <a:gd name="T43" fmla="*/ 126 h 134"/>
                  <a:gd name="T44" fmla="*/ 10 w 134"/>
                  <a:gd name="T45" fmla="*/ 132 h 134"/>
                  <a:gd name="T46" fmla="*/ 2 w 134"/>
                  <a:gd name="T47" fmla="*/ 124 h 134"/>
                  <a:gd name="T48" fmla="*/ 14 w 134"/>
                  <a:gd name="T49" fmla="*/ 112 h 134"/>
                  <a:gd name="T50" fmla="*/ 14 w 134"/>
                  <a:gd name="T51" fmla="*/ 108 h 134"/>
                  <a:gd name="T52" fmla="*/ 10 w 134"/>
                  <a:gd name="T53" fmla="*/ 100 h 134"/>
                  <a:gd name="T54" fmla="*/ 0 w 134"/>
                  <a:gd name="T55" fmla="*/ 30 h 1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34" h="134">
                    <a:moveTo>
                      <a:pt x="0" y="30"/>
                    </a:moveTo>
                    <a:lnTo>
                      <a:pt x="46" y="18"/>
                    </a:lnTo>
                    <a:lnTo>
                      <a:pt x="50" y="24"/>
                    </a:lnTo>
                    <a:lnTo>
                      <a:pt x="50" y="22"/>
                    </a:lnTo>
                    <a:lnTo>
                      <a:pt x="52" y="18"/>
                    </a:lnTo>
                    <a:lnTo>
                      <a:pt x="120" y="0"/>
                    </a:lnTo>
                    <a:lnTo>
                      <a:pt x="134" y="56"/>
                    </a:lnTo>
                    <a:lnTo>
                      <a:pt x="132" y="62"/>
                    </a:lnTo>
                    <a:lnTo>
                      <a:pt x="132" y="64"/>
                    </a:lnTo>
                    <a:lnTo>
                      <a:pt x="132" y="68"/>
                    </a:lnTo>
                    <a:lnTo>
                      <a:pt x="132" y="70"/>
                    </a:lnTo>
                    <a:lnTo>
                      <a:pt x="124" y="70"/>
                    </a:lnTo>
                    <a:lnTo>
                      <a:pt x="102" y="80"/>
                    </a:lnTo>
                    <a:lnTo>
                      <a:pt x="96" y="80"/>
                    </a:lnTo>
                    <a:lnTo>
                      <a:pt x="94" y="82"/>
                    </a:lnTo>
                    <a:lnTo>
                      <a:pt x="92" y="86"/>
                    </a:lnTo>
                    <a:lnTo>
                      <a:pt x="92" y="88"/>
                    </a:lnTo>
                    <a:lnTo>
                      <a:pt x="78" y="90"/>
                    </a:lnTo>
                    <a:lnTo>
                      <a:pt x="60" y="98"/>
                    </a:lnTo>
                    <a:lnTo>
                      <a:pt x="58" y="94"/>
                    </a:lnTo>
                    <a:lnTo>
                      <a:pt x="46" y="106"/>
                    </a:lnTo>
                    <a:lnTo>
                      <a:pt x="20" y="128"/>
                    </a:lnTo>
                    <a:lnTo>
                      <a:pt x="10" y="134"/>
                    </a:lnTo>
                    <a:lnTo>
                      <a:pt x="2" y="126"/>
                    </a:lnTo>
                    <a:lnTo>
                      <a:pt x="14" y="114"/>
                    </a:lnTo>
                    <a:lnTo>
                      <a:pt x="14" y="110"/>
                    </a:lnTo>
                    <a:lnTo>
                      <a:pt x="10" y="102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Freeform 64">
                <a:extLst>
                  <a:ext uri="{FF2B5EF4-FFF2-40B4-BE49-F238E27FC236}">
                    <a16:creationId xmlns:a16="http://schemas.microsoft.com/office/drawing/2014/main" id="{BA756C94-A0A7-456D-8EE9-E200D56C32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7" y="1417"/>
                <a:ext cx="476" cy="313"/>
              </a:xfrm>
              <a:custGeom>
                <a:avLst/>
                <a:gdLst>
                  <a:gd name="T0" fmla="*/ 386 w 474"/>
                  <a:gd name="T1" fmla="*/ 0 h 312"/>
                  <a:gd name="T2" fmla="*/ 400 w 474"/>
                  <a:gd name="T3" fmla="*/ 18 h 312"/>
                  <a:gd name="T4" fmla="*/ 394 w 474"/>
                  <a:gd name="T5" fmla="*/ 34 h 312"/>
                  <a:gd name="T6" fmla="*/ 404 w 474"/>
                  <a:gd name="T7" fmla="*/ 74 h 312"/>
                  <a:gd name="T8" fmla="*/ 434 w 474"/>
                  <a:gd name="T9" fmla="*/ 88 h 312"/>
                  <a:gd name="T10" fmla="*/ 440 w 474"/>
                  <a:gd name="T11" fmla="*/ 102 h 312"/>
                  <a:gd name="T12" fmla="*/ 456 w 474"/>
                  <a:gd name="T13" fmla="*/ 122 h 312"/>
                  <a:gd name="T14" fmla="*/ 476 w 474"/>
                  <a:gd name="T15" fmla="*/ 148 h 312"/>
                  <a:gd name="T16" fmla="*/ 470 w 474"/>
                  <a:gd name="T17" fmla="*/ 167 h 312"/>
                  <a:gd name="T18" fmla="*/ 464 w 474"/>
                  <a:gd name="T19" fmla="*/ 181 h 312"/>
                  <a:gd name="T20" fmla="*/ 440 w 474"/>
                  <a:gd name="T21" fmla="*/ 199 h 312"/>
                  <a:gd name="T22" fmla="*/ 420 w 474"/>
                  <a:gd name="T23" fmla="*/ 205 h 312"/>
                  <a:gd name="T24" fmla="*/ 408 w 474"/>
                  <a:gd name="T25" fmla="*/ 219 h 312"/>
                  <a:gd name="T26" fmla="*/ 418 w 474"/>
                  <a:gd name="T27" fmla="*/ 237 h 312"/>
                  <a:gd name="T28" fmla="*/ 418 w 474"/>
                  <a:gd name="T29" fmla="*/ 257 h 312"/>
                  <a:gd name="T30" fmla="*/ 396 w 474"/>
                  <a:gd name="T31" fmla="*/ 289 h 312"/>
                  <a:gd name="T32" fmla="*/ 394 w 474"/>
                  <a:gd name="T33" fmla="*/ 305 h 312"/>
                  <a:gd name="T34" fmla="*/ 364 w 474"/>
                  <a:gd name="T35" fmla="*/ 291 h 312"/>
                  <a:gd name="T36" fmla="*/ 60 w 474"/>
                  <a:gd name="T37" fmla="*/ 295 h 312"/>
                  <a:gd name="T38" fmla="*/ 60 w 474"/>
                  <a:gd name="T39" fmla="*/ 277 h 312"/>
                  <a:gd name="T40" fmla="*/ 52 w 474"/>
                  <a:gd name="T41" fmla="*/ 261 h 312"/>
                  <a:gd name="T42" fmla="*/ 54 w 474"/>
                  <a:gd name="T43" fmla="*/ 245 h 312"/>
                  <a:gd name="T44" fmla="*/ 46 w 474"/>
                  <a:gd name="T45" fmla="*/ 225 h 312"/>
                  <a:gd name="T46" fmla="*/ 46 w 474"/>
                  <a:gd name="T47" fmla="*/ 209 h 312"/>
                  <a:gd name="T48" fmla="*/ 34 w 474"/>
                  <a:gd name="T49" fmla="*/ 193 h 312"/>
                  <a:gd name="T50" fmla="*/ 28 w 474"/>
                  <a:gd name="T51" fmla="*/ 177 h 312"/>
                  <a:gd name="T52" fmla="*/ 14 w 474"/>
                  <a:gd name="T53" fmla="*/ 152 h 312"/>
                  <a:gd name="T54" fmla="*/ 20 w 474"/>
                  <a:gd name="T55" fmla="*/ 132 h 312"/>
                  <a:gd name="T56" fmla="*/ 8 w 474"/>
                  <a:gd name="T57" fmla="*/ 116 h 312"/>
                  <a:gd name="T58" fmla="*/ 6 w 474"/>
                  <a:gd name="T59" fmla="*/ 102 h 312"/>
                  <a:gd name="T60" fmla="*/ 6 w 474"/>
                  <a:gd name="T61" fmla="*/ 68 h 312"/>
                  <a:gd name="T62" fmla="*/ 12 w 474"/>
                  <a:gd name="T63" fmla="*/ 54 h 312"/>
                  <a:gd name="T64" fmla="*/ 2 w 474"/>
                  <a:gd name="T65" fmla="*/ 34 h 312"/>
                  <a:gd name="T66" fmla="*/ 4 w 474"/>
                  <a:gd name="T67" fmla="*/ 18 h 312"/>
                  <a:gd name="T68" fmla="*/ 6 w 474"/>
                  <a:gd name="T69" fmla="*/ 10 h 31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74" h="312">
                    <a:moveTo>
                      <a:pt x="12" y="12"/>
                    </a:moveTo>
                    <a:lnTo>
                      <a:pt x="384" y="0"/>
                    </a:lnTo>
                    <a:lnTo>
                      <a:pt x="390" y="12"/>
                    </a:lnTo>
                    <a:lnTo>
                      <a:pt x="398" y="18"/>
                    </a:lnTo>
                    <a:lnTo>
                      <a:pt x="396" y="26"/>
                    </a:lnTo>
                    <a:lnTo>
                      <a:pt x="392" y="34"/>
                    </a:lnTo>
                    <a:lnTo>
                      <a:pt x="396" y="46"/>
                    </a:lnTo>
                    <a:lnTo>
                      <a:pt x="402" y="74"/>
                    </a:lnTo>
                    <a:lnTo>
                      <a:pt x="424" y="82"/>
                    </a:lnTo>
                    <a:lnTo>
                      <a:pt x="432" y="88"/>
                    </a:lnTo>
                    <a:lnTo>
                      <a:pt x="434" y="98"/>
                    </a:lnTo>
                    <a:lnTo>
                      <a:pt x="438" y="102"/>
                    </a:lnTo>
                    <a:lnTo>
                      <a:pt x="452" y="114"/>
                    </a:lnTo>
                    <a:lnTo>
                      <a:pt x="454" y="122"/>
                    </a:lnTo>
                    <a:lnTo>
                      <a:pt x="468" y="130"/>
                    </a:lnTo>
                    <a:lnTo>
                      <a:pt x="474" y="148"/>
                    </a:lnTo>
                    <a:lnTo>
                      <a:pt x="472" y="156"/>
                    </a:lnTo>
                    <a:lnTo>
                      <a:pt x="468" y="166"/>
                    </a:lnTo>
                    <a:lnTo>
                      <a:pt x="462" y="172"/>
                    </a:lnTo>
                    <a:lnTo>
                      <a:pt x="462" y="180"/>
                    </a:lnTo>
                    <a:lnTo>
                      <a:pt x="450" y="194"/>
                    </a:lnTo>
                    <a:lnTo>
                      <a:pt x="438" y="198"/>
                    </a:lnTo>
                    <a:lnTo>
                      <a:pt x="434" y="202"/>
                    </a:lnTo>
                    <a:lnTo>
                      <a:pt x="418" y="204"/>
                    </a:lnTo>
                    <a:lnTo>
                      <a:pt x="412" y="208"/>
                    </a:lnTo>
                    <a:lnTo>
                      <a:pt x="406" y="218"/>
                    </a:lnTo>
                    <a:lnTo>
                      <a:pt x="408" y="226"/>
                    </a:lnTo>
                    <a:lnTo>
                      <a:pt x="416" y="236"/>
                    </a:lnTo>
                    <a:lnTo>
                      <a:pt x="420" y="242"/>
                    </a:lnTo>
                    <a:lnTo>
                      <a:pt x="416" y="256"/>
                    </a:lnTo>
                    <a:lnTo>
                      <a:pt x="406" y="282"/>
                    </a:lnTo>
                    <a:lnTo>
                      <a:pt x="394" y="288"/>
                    </a:lnTo>
                    <a:lnTo>
                      <a:pt x="390" y="296"/>
                    </a:lnTo>
                    <a:lnTo>
                      <a:pt x="392" y="304"/>
                    </a:lnTo>
                    <a:lnTo>
                      <a:pt x="386" y="312"/>
                    </a:lnTo>
                    <a:lnTo>
                      <a:pt x="362" y="290"/>
                    </a:lnTo>
                    <a:lnTo>
                      <a:pt x="62" y="298"/>
                    </a:lnTo>
                    <a:lnTo>
                      <a:pt x="60" y="294"/>
                    </a:lnTo>
                    <a:lnTo>
                      <a:pt x="56" y="284"/>
                    </a:lnTo>
                    <a:lnTo>
                      <a:pt x="60" y="276"/>
                    </a:lnTo>
                    <a:lnTo>
                      <a:pt x="54" y="268"/>
                    </a:lnTo>
                    <a:lnTo>
                      <a:pt x="52" y="260"/>
                    </a:lnTo>
                    <a:lnTo>
                      <a:pt x="56" y="252"/>
                    </a:lnTo>
                    <a:lnTo>
                      <a:pt x="54" y="244"/>
                    </a:lnTo>
                    <a:lnTo>
                      <a:pt x="44" y="240"/>
                    </a:lnTo>
                    <a:lnTo>
                      <a:pt x="46" y="224"/>
                    </a:lnTo>
                    <a:lnTo>
                      <a:pt x="48" y="216"/>
                    </a:lnTo>
                    <a:lnTo>
                      <a:pt x="46" y="208"/>
                    </a:lnTo>
                    <a:lnTo>
                      <a:pt x="36" y="200"/>
                    </a:lnTo>
                    <a:lnTo>
                      <a:pt x="34" y="192"/>
                    </a:lnTo>
                    <a:lnTo>
                      <a:pt x="36" y="184"/>
                    </a:lnTo>
                    <a:lnTo>
                      <a:pt x="28" y="176"/>
                    </a:lnTo>
                    <a:lnTo>
                      <a:pt x="22" y="160"/>
                    </a:lnTo>
                    <a:lnTo>
                      <a:pt x="14" y="152"/>
                    </a:lnTo>
                    <a:lnTo>
                      <a:pt x="20" y="138"/>
                    </a:lnTo>
                    <a:lnTo>
                      <a:pt x="20" y="132"/>
                    </a:lnTo>
                    <a:lnTo>
                      <a:pt x="10" y="126"/>
                    </a:lnTo>
                    <a:lnTo>
                      <a:pt x="8" y="116"/>
                    </a:lnTo>
                    <a:lnTo>
                      <a:pt x="10" y="112"/>
                    </a:lnTo>
                    <a:lnTo>
                      <a:pt x="6" y="102"/>
                    </a:lnTo>
                    <a:lnTo>
                      <a:pt x="0" y="84"/>
                    </a:lnTo>
                    <a:lnTo>
                      <a:pt x="6" y="68"/>
                    </a:lnTo>
                    <a:lnTo>
                      <a:pt x="6" y="58"/>
                    </a:lnTo>
                    <a:lnTo>
                      <a:pt x="12" y="54"/>
                    </a:lnTo>
                    <a:lnTo>
                      <a:pt x="8" y="38"/>
                    </a:lnTo>
                    <a:lnTo>
                      <a:pt x="2" y="34"/>
                    </a:lnTo>
                    <a:lnTo>
                      <a:pt x="6" y="24"/>
                    </a:lnTo>
                    <a:lnTo>
                      <a:pt x="4" y="18"/>
                    </a:lnTo>
                    <a:lnTo>
                      <a:pt x="0" y="12"/>
                    </a:lnTo>
                    <a:lnTo>
                      <a:pt x="6" y="10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Freeform 65">
                <a:extLst>
                  <a:ext uri="{FF2B5EF4-FFF2-40B4-BE49-F238E27FC236}">
                    <a16:creationId xmlns:a16="http://schemas.microsoft.com/office/drawing/2014/main" id="{7BA191C9-859E-4400-BB2A-7F087A8EA9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8" y="842"/>
                <a:ext cx="523" cy="587"/>
              </a:xfrm>
              <a:custGeom>
                <a:avLst/>
                <a:gdLst>
                  <a:gd name="T0" fmla="*/ 50 w 518"/>
                  <a:gd name="T1" fmla="*/ 404 h 584"/>
                  <a:gd name="T2" fmla="*/ 22 w 518"/>
                  <a:gd name="T3" fmla="*/ 372 h 584"/>
                  <a:gd name="T4" fmla="*/ 40 w 518"/>
                  <a:gd name="T5" fmla="*/ 348 h 584"/>
                  <a:gd name="T6" fmla="*/ 40 w 518"/>
                  <a:gd name="T7" fmla="*/ 326 h 584"/>
                  <a:gd name="T8" fmla="*/ 30 w 518"/>
                  <a:gd name="T9" fmla="*/ 275 h 584"/>
                  <a:gd name="T10" fmla="*/ 28 w 518"/>
                  <a:gd name="T11" fmla="*/ 251 h 584"/>
                  <a:gd name="T12" fmla="*/ 24 w 518"/>
                  <a:gd name="T13" fmla="*/ 191 h 584"/>
                  <a:gd name="T14" fmla="*/ 10 w 518"/>
                  <a:gd name="T15" fmla="*/ 153 h 584"/>
                  <a:gd name="T16" fmla="*/ 2 w 518"/>
                  <a:gd name="T17" fmla="*/ 92 h 584"/>
                  <a:gd name="T18" fmla="*/ 8 w 518"/>
                  <a:gd name="T19" fmla="*/ 68 h 584"/>
                  <a:gd name="T20" fmla="*/ 0 w 518"/>
                  <a:gd name="T21" fmla="*/ 36 h 584"/>
                  <a:gd name="T22" fmla="*/ 135 w 518"/>
                  <a:gd name="T23" fmla="*/ 14 h 584"/>
                  <a:gd name="T24" fmla="*/ 147 w 518"/>
                  <a:gd name="T25" fmla="*/ 0 h 584"/>
                  <a:gd name="T26" fmla="*/ 164 w 518"/>
                  <a:gd name="T27" fmla="*/ 28 h 584"/>
                  <a:gd name="T28" fmla="*/ 166 w 518"/>
                  <a:gd name="T29" fmla="*/ 56 h 584"/>
                  <a:gd name="T30" fmla="*/ 186 w 518"/>
                  <a:gd name="T31" fmla="*/ 64 h 584"/>
                  <a:gd name="T32" fmla="*/ 202 w 518"/>
                  <a:gd name="T33" fmla="*/ 72 h 584"/>
                  <a:gd name="T34" fmla="*/ 226 w 518"/>
                  <a:gd name="T35" fmla="*/ 72 h 584"/>
                  <a:gd name="T36" fmla="*/ 228 w 518"/>
                  <a:gd name="T37" fmla="*/ 82 h 584"/>
                  <a:gd name="T38" fmla="*/ 254 w 518"/>
                  <a:gd name="T39" fmla="*/ 74 h 584"/>
                  <a:gd name="T40" fmla="*/ 303 w 518"/>
                  <a:gd name="T41" fmla="*/ 78 h 584"/>
                  <a:gd name="T42" fmla="*/ 305 w 518"/>
                  <a:gd name="T43" fmla="*/ 82 h 584"/>
                  <a:gd name="T44" fmla="*/ 313 w 518"/>
                  <a:gd name="T45" fmla="*/ 86 h 584"/>
                  <a:gd name="T46" fmla="*/ 321 w 518"/>
                  <a:gd name="T47" fmla="*/ 103 h 584"/>
                  <a:gd name="T48" fmla="*/ 335 w 518"/>
                  <a:gd name="T49" fmla="*/ 96 h 584"/>
                  <a:gd name="T50" fmla="*/ 347 w 518"/>
                  <a:gd name="T51" fmla="*/ 96 h 584"/>
                  <a:gd name="T52" fmla="*/ 368 w 518"/>
                  <a:gd name="T53" fmla="*/ 111 h 584"/>
                  <a:gd name="T54" fmla="*/ 380 w 518"/>
                  <a:gd name="T55" fmla="*/ 123 h 584"/>
                  <a:gd name="T56" fmla="*/ 400 w 518"/>
                  <a:gd name="T57" fmla="*/ 121 h 584"/>
                  <a:gd name="T58" fmla="*/ 430 w 518"/>
                  <a:gd name="T59" fmla="*/ 105 h 584"/>
                  <a:gd name="T60" fmla="*/ 475 w 518"/>
                  <a:gd name="T61" fmla="*/ 113 h 584"/>
                  <a:gd name="T62" fmla="*/ 487 w 518"/>
                  <a:gd name="T63" fmla="*/ 117 h 584"/>
                  <a:gd name="T64" fmla="*/ 505 w 518"/>
                  <a:gd name="T65" fmla="*/ 121 h 584"/>
                  <a:gd name="T66" fmla="*/ 513 w 518"/>
                  <a:gd name="T67" fmla="*/ 129 h 584"/>
                  <a:gd name="T68" fmla="*/ 477 w 518"/>
                  <a:gd name="T69" fmla="*/ 145 h 584"/>
                  <a:gd name="T70" fmla="*/ 458 w 518"/>
                  <a:gd name="T71" fmla="*/ 159 h 584"/>
                  <a:gd name="T72" fmla="*/ 428 w 518"/>
                  <a:gd name="T73" fmla="*/ 175 h 584"/>
                  <a:gd name="T74" fmla="*/ 347 w 518"/>
                  <a:gd name="T75" fmla="*/ 253 h 584"/>
                  <a:gd name="T76" fmla="*/ 337 w 518"/>
                  <a:gd name="T77" fmla="*/ 265 h 584"/>
                  <a:gd name="T78" fmla="*/ 335 w 518"/>
                  <a:gd name="T79" fmla="*/ 326 h 584"/>
                  <a:gd name="T80" fmla="*/ 307 w 518"/>
                  <a:gd name="T81" fmla="*/ 344 h 584"/>
                  <a:gd name="T82" fmla="*/ 305 w 518"/>
                  <a:gd name="T83" fmla="*/ 356 h 584"/>
                  <a:gd name="T84" fmla="*/ 309 w 518"/>
                  <a:gd name="T85" fmla="*/ 376 h 584"/>
                  <a:gd name="T86" fmla="*/ 311 w 518"/>
                  <a:gd name="T87" fmla="*/ 400 h 584"/>
                  <a:gd name="T88" fmla="*/ 309 w 518"/>
                  <a:gd name="T89" fmla="*/ 428 h 584"/>
                  <a:gd name="T90" fmla="*/ 313 w 518"/>
                  <a:gd name="T91" fmla="*/ 458 h 584"/>
                  <a:gd name="T92" fmla="*/ 323 w 518"/>
                  <a:gd name="T93" fmla="*/ 468 h 584"/>
                  <a:gd name="T94" fmla="*/ 345 w 518"/>
                  <a:gd name="T95" fmla="*/ 474 h 584"/>
                  <a:gd name="T96" fmla="*/ 351 w 518"/>
                  <a:gd name="T97" fmla="*/ 482 h 584"/>
                  <a:gd name="T98" fmla="*/ 380 w 518"/>
                  <a:gd name="T99" fmla="*/ 507 h 584"/>
                  <a:gd name="T100" fmla="*/ 422 w 518"/>
                  <a:gd name="T101" fmla="*/ 537 h 584"/>
                  <a:gd name="T102" fmla="*/ 424 w 518"/>
                  <a:gd name="T103" fmla="*/ 555 h 584"/>
                  <a:gd name="T104" fmla="*/ 50 w 518"/>
                  <a:gd name="T105" fmla="*/ 587 h 58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18" h="584">
                    <a:moveTo>
                      <a:pt x="50" y="584"/>
                    </a:moveTo>
                    <a:lnTo>
                      <a:pt x="50" y="402"/>
                    </a:lnTo>
                    <a:lnTo>
                      <a:pt x="24" y="378"/>
                    </a:lnTo>
                    <a:lnTo>
                      <a:pt x="22" y="370"/>
                    </a:lnTo>
                    <a:lnTo>
                      <a:pt x="36" y="356"/>
                    </a:lnTo>
                    <a:lnTo>
                      <a:pt x="40" y="346"/>
                    </a:lnTo>
                    <a:lnTo>
                      <a:pt x="40" y="338"/>
                    </a:lnTo>
                    <a:lnTo>
                      <a:pt x="40" y="324"/>
                    </a:lnTo>
                    <a:lnTo>
                      <a:pt x="40" y="310"/>
                    </a:lnTo>
                    <a:lnTo>
                      <a:pt x="30" y="274"/>
                    </a:lnTo>
                    <a:lnTo>
                      <a:pt x="28" y="268"/>
                    </a:lnTo>
                    <a:lnTo>
                      <a:pt x="28" y="250"/>
                    </a:lnTo>
                    <a:lnTo>
                      <a:pt x="26" y="240"/>
                    </a:lnTo>
                    <a:lnTo>
                      <a:pt x="24" y="190"/>
                    </a:lnTo>
                    <a:lnTo>
                      <a:pt x="18" y="160"/>
                    </a:lnTo>
                    <a:lnTo>
                      <a:pt x="10" y="152"/>
                    </a:lnTo>
                    <a:lnTo>
                      <a:pt x="4" y="120"/>
                    </a:lnTo>
                    <a:lnTo>
                      <a:pt x="2" y="92"/>
                    </a:lnTo>
                    <a:lnTo>
                      <a:pt x="4" y="76"/>
                    </a:lnTo>
                    <a:lnTo>
                      <a:pt x="8" y="68"/>
                    </a:lnTo>
                    <a:lnTo>
                      <a:pt x="0" y="44"/>
                    </a:lnTo>
                    <a:lnTo>
                      <a:pt x="0" y="36"/>
                    </a:lnTo>
                    <a:lnTo>
                      <a:pt x="134" y="36"/>
                    </a:lnTo>
                    <a:lnTo>
                      <a:pt x="134" y="14"/>
                    </a:lnTo>
                    <a:lnTo>
                      <a:pt x="136" y="0"/>
                    </a:lnTo>
                    <a:lnTo>
                      <a:pt x="146" y="0"/>
                    </a:lnTo>
                    <a:lnTo>
                      <a:pt x="160" y="6"/>
                    </a:lnTo>
                    <a:lnTo>
                      <a:pt x="162" y="28"/>
                    </a:lnTo>
                    <a:lnTo>
                      <a:pt x="166" y="42"/>
                    </a:lnTo>
                    <a:lnTo>
                      <a:pt x="164" y="56"/>
                    </a:lnTo>
                    <a:lnTo>
                      <a:pt x="180" y="66"/>
                    </a:lnTo>
                    <a:lnTo>
                      <a:pt x="184" y="64"/>
                    </a:lnTo>
                    <a:lnTo>
                      <a:pt x="194" y="66"/>
                    </a:lnTo>
                    <a:lnTo>
                      <a:pt x="200" y="72"/>
                    </a:lnTo>
                    <a:lnTo>
                      <a:pt x="212" y="72"/>
                    </a:lnTo>
                    <a:lnTo>
                      <a:pt x="224" y="72"/>
                    </a:lnTo>
                    <a:lnTo>
                      <a:pt x="226" y="78"/>
                    </a:lnTo>
                    <a:lnTo>
                      <a:pt x="226" y="82"/>
                    </a:lnTo>
                    <a:lnTo>
                      <a:pt x="246" y="80"/>
                    </a:lnTo>
                    <a:lnTo>
                      <a:pt x="252" y="74"/>
                    </a:lnTo>
                    <a:lnTo>
                      <a:pt x="282" y="72"/>
                    </a:lnTo>
                    <a:lnTo>
                      <a:pt x="300" y="78"/>
                    </a:lnTo>
                    <a:lnTo>
                      <a:pt x="304" y="78"/>
                    </a:lnTo>
                    <a:lnTo>
                      <a:pt x="302" y="82"/>
                    </a:lnTo>
                    <a:lnTo>
                      <a:pt x="308" y="86"/>
                    </a:lnTo>
                    <a:lnTo>
                      <a:pt x="310" y="86"/>
                    </a:lnTo>
                    <a:lnTo>
                      <a:pt x="314" y="90"/>
                    </a:lnTo>
                    <a:lnTo>
                      <a:pt x="318" y="102"/>
                    </a:lnTo>
                    <a:lnTo>
                      <a:pt x="324" y="106"/>
                    </a:lnTo>
                    <a:lnTo>
                      <a:pt x="332" y="96"/>
                    </a:lnTo>
                    <a:lnTo>
                      <a:pt x="336" y="94"/>
                    </a:lnTo>
                    <a:lnTo>
                      <a:pt x="344" y="96"/>
                    </a:lnTo>
                    <a:lnTo>
                      <a:pt x="348" y="106"/>
                    </a:lnTo>
                    <a:lnTo>
                      <a:pt x="364" y="110"/>
                    </a:lnTo>
                    <a:lnTo>
                      <a:pt x="368" y="116"/>
                    </a:lnTo>
                    <a:lnTo>
                      <a:pt x="376" y="122"/>
                    </a:lnTo>
                    <a:lnTo>
                      <a:pt x="386" y="122"/>
                    </a:lnTo>
                    <a:lnTo>
                      <a:pt x="396" y="120"/>
                    </a:lnTo>
                    <a:lnTo>
                      <a:pt x="422" y="102"/>
                    </a:lnTo>
                    <a:lnTo>
                      <a:pt x="426" y="104"/>
                    </a:lnTo>
                    <a:lnTo>
                      <a:pt x="432" y="112"/>
                    </a:lnTo>
                    <a:lnTo>
                      <a:pt x="470" y="112"/>
                    </a:lnTo>
                    <a:lnTo>
                      <a:pt x="476" y="114"/>
                    </a:lnTo>
                    <a:lnTo>
                      <a:pt x="482" y="116"/>
                    </a:lnTo>
                    <a:lnTo>
                      <a:pt x="492" y="124"/>
                    </a:lnTo>
                    <a:lnTo>
                      <a:pt x="500" y="120"/>
                    </a:lnTo>
                    <a:lnTo>
                      <a:pt x="518" y="118"/>
                    </a:lnTo>
                    <a:lnTo>
                      <a:pt x="508" y="128"/>
                    </a:lnTo>
                    <a:lnTo>
                      <a:pt x="484" y="140"/>
                    </a:lnTo>
                    <a:lnTo>
                      <a:pt x="472" y="144"/>
                    </a:lnTo>
                    <a:lnTo>
                      <a:pt x="464" y="148"/>
                    </a:lnTo>
                    <a:lnTo>
                      <a:pt x="454" y="158"/>
                    </a:lnTo>
                    <a:lnTo>
                      <a:pt x="434" y="166"/>
                    </a:lnTo>
                    <a:lnTo>
                      <a:pt x="424" y="174"/>
                    </a:lnTo>
                    <a:lnTo>
                      <a:pt x="392" y="210"/>
                    </a:lnTo>
                    <a:lnTo>
                      <a:pt x="344" y="252"/>
                    </a:lnTo>
                    <a:lnTo>
                      <a:pt x="340" y="260"/>
                    </a:lnTo>
                    <a:lnTo>
                      <a:pt x="334" y="264"/>
                    </a:lnTo>
                    <a:lnTo>
                      <a:pt x="336" y="318"/>
                    </a:lnTo>
                    <a:lnTo>
                      <a:pt x="332" y="324"/>
                    </a:lnTo>
                    <a:lnTo>
                      <a:pt x="324" y="326"/>
                    </a:lnTo>
                    <a:lnTo>
                      <a:pt x="304" y="342"/>
                    </a:lnTo>
                    <a:lnTo>
                      <a:pt x="304" y="352"/>
                    </a:lnTo>
                    <a:lnTo>
                      <a:pt x="302" y="354"/>
                    </a:lnTo>
                    <a:lnTo>
                      <a:pt x="296" y="370"/>
                    </a:lnTo>
                    <a:lnTo>
                      <a:pt x="306" y="374"/>
                    </a:lnTo>
                    <a:lnTo>
                      <a:pt x="314" y="388"/>
                    </a:lnTo>
                    <a:lnTo>
                      <a:pt x="308" y="398"/>
                    </a:lnTo>
                    <a:lnTo>
                      <a:pt x="310" y="408"/>
                    </a:lnTo>
                    <a:lnTo>
                      <a:pt x="306" y="426"/>
                    </a:lnTo>
                    <a:lnTo>
                      <a:pt x="306" y="450"/>
                    </a:lnTo>
                    <a:lnTo>
                      <a:pt x="310" y="456"/>
                    </a:lnTo>
                    <a:lnTo>
                      <a:pt x="318" y="462"/>
                    </a:lnTo>
                    <a:lnTo>
                      <a:pt x="320" y="466"/>
                    </a:lnTo>
                    <a:lnTo>
                      <a:pt x="338" y="470"/>
                    </a:lnTo>
                    <a:lnTo>
                      <a:pt x="342" y="472"/>
                    </a:lnTo>
                    <a:lnTo>
                      <a:pt x="342" y="476"/>
                    </a:lnTo>
                    <a:lnTo>
                      <a:pt x="348" y="480"/>
                    </a:lnTo>
                    <a:lnTo>
                      <a:pt x="368" y="490"/>
                    </a:lnTo>
                    <a:lnTo>
                      <a:pt x="376" y="504"/>
                    </a:lnTo>
                    <a:lnTo>
                      <a:pt x="396" y="520"/>
                    </a:lnTo>
                    <a:lnTo>
                      <a:pt x="418" y="534"/>
                    </a:lnTo>
                    <a:lnTo>
                      <a:pt x="420" y="540"/>
                    </a:lnTo>
                    <a:lnTo>
                      <a:pt x="420" y="552"/>
                    </a:lnTo>
                    <a:lnTo>
                      <a:pt x="422" y="572"/>
                    </a:lnTo>
                    <a:lnTo>
                      <a:pt x="50" y="58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Freeform 66">
                <a:extLst>
                  <a:ext uri="{FF2B5EF4-FFF2-40B4-BE49-F238E27FC236}">
                    <a16:creationId xmlns:a16="http://schemas.microsoft.com/office/drawing/2014/main" id="{71C2A5F3-CA40-4910-BD98-F8B78F803D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0" y="878"/>
                <a:ext cx="635" cy="530"/>
              </a:xfrm>
              <a:custGeom>
                <a:avLst/>
                <a:gdLst>
                  <a:gd name="T0" fmla="*/ 6 w 634"/>
                  <a:gd name="T1" fmla="*/ 393 h 528"/>
                  <a:gd name="T2" fmla="*/ 4 w 634"/>
                  <a:gd name="T3" fmla="*/ 363 h 528"/>
                  <a:gd name="T4" fmla="*/ 10 w 634"/>
                  <a:gd name="T5" fmla="*/ 339 h 528"/>
                  <a:gd name="T6" fmla="*/ 12 w 634"/>
                  <a:gd name="T7" fmla="*/ 301 h 528"/>
                  <a:gd name="T8" fmla="*/ 22 w 634"/>
                  <a:gd name="T9" fmla="*/ 293 h 528"/>
                  <a:gd name="T10" fmla="*/ 30 w 634"/>
                  <a:gd name="T11" fmla="*/ 279 h 528"/>
                  <a:gd name="T12" fmla="*/ 34 w 634"/>
                  <a:gd name="T13" fmla="*/ 263 h 528"/>
                  <a:gd name="T14" fmla="*/ 62 w 634"/>
                  <a:gd name="T15" fmla="*/ 221 h 528"/>
                  <a:gd name="T16" fmla="*/ 98 w 634"/>
                  <a:gd name="T17" fmla="*/ 135 h 528"/>
                  <a:gd name="T18" fmla="*/ 122 w 634"/>
                  <a:gd name="T19" fmla="*/ 76 h 528"/>
                  <a:gd name="T20" fmla="*/ 142 w 634"/>
                  <a:gd name="T21" fmla="*/ 20 h 528"/>
                  <a:gd name="T22" fmla="*/ 144 w 634"/>
                  <a:gd name="T23" fmla="*/ 2 h 528"/>
                  <a:gd name="T24" fmla="*/ 158 w 634"/>
                  <a:gd name="T25" fmla="*/ 2 h 528"/>
                  <a:gd name="T26" fmla="*/ 176 w 634"/>
                  <a:gd name="T27" fmla="*/ 6 h 528"/>
                  <a:gd name="T28" fmla="*/ 182 w 634"/>
                  <a:gd name="T29" fmla="*/ 16 h 528"/>
                  <a:gd name="T30" fmla="*/ 208 w 634"/>
                  <a:gd name="T31" fmla="*/ 28 h 528"/>
                  <a:gd name="T32" fmla="*/ 210 w 634"/>
                  <a:gd name="T33" fmla="*/ 48 h 528"/>
                  <a:gd name="T34" fmla="*/ 212 w 634"/>
                  <a:gd name="T35" fmla="*/ 82 h 528"/>
                  <a:gd name="T36" fmla="*/ 256 w 634"/>
                  <a:gd name="T37" fmla="*/ 92 h 528"/>
                  <a:gd name="T38" fmla="*/ 286 w 634"/>
                  <a:gd name="T39" fmla="*/ 92 h 528"/>
                  <a:gd name="T40" fmla="*/ 319 w 634"/>
                  <a:gd name="T41" fmla="*/ 110 h 528"/>
                  <a:gd name="T42" fmla="*/ 361 w 634"/>
                  <a:gd name="T43" fmla="*/ 110 h 528"/>
                  <a:gd name="T44" fmla="*/ 381 w 634"/>
                  <a:gd name="T45" fmla="*/ 114 h 528"/>
                  <a:gd name="T46" fmla="*/ 399 w 634"/>
                  <a:gd name="T47" fmla="*/ 108 h 528"/>
                  <a:gd name="T48" fmla="*/ 419 w 634"/>
                  <a:gd name="T49" fmla="*/ 110 h 528"/>
                  <a:gd name="T50" fmla="*/ 433 w 634"/>
                  <a:gd name="T51" fmla="*/ 108 h 528"/>
                  <a:gd name="T52" fmla="*/ 447 w 634"/>
                  <a:gd name="T53" fmla="*/ 110 h 528"/>
                  <a:gd name="T54" fmla="*/ 461 w 634"/>
                  <a:gd name="T55" fmla="*/ 112 h 528"/>
                  <a:gd name="T56" fmla="*/ 611 w 634"/>
                  <a:gd name="T57" fmla="*/ 143 h 528"/>
                  <a:gd name="T58" fmla="*/ 619 w 634"/>
                  <a:gd name="T59" fmla="*/ 161 h 528"/>
                  <a:gd name="T60" fmla="*/ 633 w 634"/>
                  <a:gd name="T61" fmla="*/ 169 h 528"/>
                  <a:gd name="T62" fmla="*/ 601 w 634"/>
                  <a:gd name="T63" fmla="*/ 235 h 528"/>
                  <a:gd name="T64" fmla="*/ 593 w 634"/>
                  <a:gd name="T65" fmla="*/ 247 h 528"/>
                  <a:gd name="T66" fmla="*/ 575 w 634"/>
                  <a:gd name="T67" fmla="*/ 261 h 528"/>
                  <a:gd name="T68" fmla="*/ 555 w 634"/>
                  <a:gd name="T69" fmla="*/ 299 h 528"/>
                  <a:gd name="T70" fmla="*/ 569 w 634"/>
                  <a:gd name="T71" fmla="*/ 311 h 528"/>
                  <a:gd name="T72" fmla="*/ 571 w 634"/>
                  <a:gd name="T73" fmla="*/ 325 h 528"/>
                  <a:gd name="T74" fmla="*/ 567 w 634"/>
                  <a:gd name="T75" fmla="*/ 329 h 528"/>
                  <a:gd name="T76" fmla="*/ 557 w 634"/>
                  <a:gd name="T77" fmla="*/ 353 h 528"/>
                  <a:gd name="T78" fmla="*/ 304 w 634"/>
                  <a:gd name="T79" fmla="*/ 480 h 52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634" h="528">
                    <a:moveTo>
                      <a:pt x="8" y="398"/>
                    </a:moveTo>
                    <a:lnTo>
                      <a:pt x="6" y="392"/>
                    </a:lnTo>
                    <a:lnTo>
                      <a:pt x="0" y="372"/>
                    </a:lnTo>
                    <a:lnTo>
                      <a:pt x="4" y="362"/>
                    </a:lnTo>
                    <a:lnTo>
                      <a:pt x="4" y="354"/>
                    </a:lnTo>
                    <a:lnTo>
                      <a:pt x="10" y="338"/>
                    </a:lnTo>
                    <a:lnTo>
                      <a:pt x="8" y="306"/>
                    </a:lnTo>
                    <a:lnTo>
                      <a:pt x="12" y="300"/>
                    </a:lnTo>
                    <a:lnTo>
                      <a:pt x="18" y="296"/>
                    </a:lnTo>
                    <a:lnTo>
                      <a:pt x="22" y="292"/>
                    </a:lnTo>
                    <a:lnTo>
                      <a:pt x="26" y="282"/>
                    </a:lnTo>
                    <a:lnTo>
                      <a:pt x="30" y="278"/>
                    </a:lnTo>
                    <a:lnTo>
                      <a:pt x="32" y="264"/>
                    </a:lnTo>
                    <a:lnTo>
                      <a:pt x="34" y="262"/>
                    </a:lnTo>
                    <a:lnTo>
                      <a:pt x="54" y="240"/>
                    </a:lnTo>
                    <a:lnTo>
                      <a:pt x="62" y="220"/>
                    </a:lnTo>
                    <a:lnTo>
                      <a:pt x="78" y="188"/>
                    </a:lnTo>
                    <a:lnTo>
                      <a:pt x="98" y="134"/>
                    </a:lnTo>
                    <a:lnTo>
                      <a:pt x="110" y="110"/>
                    </a:lnTo>
                    <a:lnTo>
                      <a:pt x="122" y="76"/>
                    </a:lnTo>
                    <a:lnTo>
                      <a:pt x="136" y="34"/>
                    </a:lnTo>
                    <a:lnTo>
                      <a:pt x="142" y="20"/>
                    </a:lnTo>
                    <a:lnTo>
                      <a:pt x="144" y="6"/>
                    </a:lnTo>
                    <a:lnTo>
                      <a:pt x="144" y="2"/>
                    </a:lnTo>
                    <a:lnTo>
                      <a:pt x="150" y="0"/>
                    </a:lnTo>
                    <a:lnTo>
                      <a:pt x="158" y="2"/>
                    </a:lnTo>
                    <a:lnTo>
                      <a:pt x="162" y="0"/>
                    </a:lnTo>
                    <a:lnTo>
                      <a:pt x="176" y="6"/>
                    </a:lnTo>
                    <a:lnTo>
                      <a:pt x="182" y="12"/>
                    </a:lnTo>
                    <a:lnTo>
                      <a:pt x="182" y="16"/>
                    </a:lnTo>
                    <a:lnTo>
                      <a:pt x="194" y="16"/>
                    </a:lnTo>
                    <a:lnTo>
                      <a:pt x="208" y="28"/>
                    </a:lnTo>
                    <a:lnTo>
                      <a:pt x="212" y="42"/>
                    </a:lnTo>
                    <a:lnTo>
                      <a:pt x="210" y="48"/>
                    </a:lnTo>
                    <a:lnTo>
                      <a:pt x="208" y="72"/>
                    </a:lnTo>
                    <a:lnTo>
                      <a:pt x="212" y="82"/>
                    </a:lnTo>
                    <a:lnTo>
                      <a:pt x="232" y="90"/>
                    </a:lnTo>
                    <a:lnTo>
                      <a:pt x="256" y="92"/>
                    </a:lnTo>
                    <a:lnTo>
                      <a:pt x="272" y="90"/>
                    </a:lnTo>
                    <a:lnTo>
                      <a:pt x="286" y="92"/>
                    </a:lnTo>
                    <a:lnTo>
                      <a:pt x="312" y="100"/>
                    </a:lnTo>
                    <a:lnTo>
                      <a:pt x="318" y="110"/>
                    </a:lnTo>
                    <a:lnTo>
                      <a:pt x="348" y="104"/>
                    </a:lnTo>
                    <a:lnTo>
                      <a:pt x="360" y="110"/>
                    </a:lnTo>
                    <a:lnTo>
                      <a:pt x="364" y="112"/>
                    </a:lnTo>
                    <a:lnTo>
                      <a:pt x="380" y="114"/>
                    </a:lnTo>
                    <a:lnTo>
                      <a:pt x="388" y="112"/>
                    </a:lnTo>
                    <a:lnTo>
                      <a:pt x="398" y="108"/>
                    </a:lnTo>
                    <a:lnTo>
                      <a:pt x="408" y="108"/>
                    </a:lnTo>
                    <a:lnTo>
                      <a:pt x="418" y="110"/>
                    </a:lnTo>
                    <a:lnTo>
                      <a:pt x="426" y="108"/>
                    </a:lnTo>
                    <a:lnTo>
                      <a:pt x="432" y="108"/>
                    </a:lnTo>
                    <a:lnTo>
                      <a:pt x="438" y="110"/>
                    </a:lnTo>
                    <a:lnTo>
                      <a:pt x="446" y="110"/>
                    </a:lnTo>
                    <a:lnTo>
                      <a:pt x="454" y="112"/>
                    </a:lnTo>
                    <a:lnTo>
                      <a:pt x="460" y="112"/>
                    </a:lnTo>
                    <a:lnTo>
                      <a:pt x="472" y="110"/>
                    </a:lnTo>
                    <a:lnTo>
                      <a:pt x="610" y="142"/>
                    </a:lnTo>
                    <a:lnTo>
                      <a:pt x="612" y="150"/>
                    </a:lnTo>
                    <a:lnTo>
                      <a:pt x="618" y="160"/>
                    </a:lnTo>
                    <a:lnTo>
                      <a:pt x="624" y="162"/>
                    </a:lnTo>
                    <a:lnTo>
                      <a:pt x="632" y="168"/>
                    </a:lnTo>
                    <a:lnTo>
                      <a:pt x="634" y="182"/>
                    </a:lnTo>
                    <a:lnTo>
                      <a:pt x="600" y="234"/>
                    </a:lnTo>
                    <a:lnTo>
                      <a:pt x="594" y="240"/>
                    </a:lnTo>
                    <a:lnTo>
                      <a:pt x="592" y="246"/>
                    </a:lnTo>
                    <a:lnTo>
                      <a:pt x="586" y="254"/>
                    </a:lnTo>
                    <a:lnTo>
                      <a:pt x="574" y="260"/>
                    </a:lnTo>
                    <a:lnTo>
                      <a:pt x="558" y="286"/>
                    </a:lnTo>
                    <a:lnTo>
                      <a:pt x="554" y="298"/>
                    </a:lnTo>
                    <a:lnTo>
                      <a:pt x="556" y="306"/>
                    </a:lnTo>
                    <a:lnTo>
                      <a:pt x="568" y="310"/>
                    </a:lnTo>
                    <a:lnTo>
                      <a:pt x="572" y="318"/>
                    </a:lnTo>
                    <a:lnTo>
                      <a:pt x="570" y="324"/>
                    </a:lnTo>
                    <a:lnTo>
                      <a:pt x="568" y="326"/>
                    </a:lnTo>
                    <a:lnTo>
                      <a:pt x="566" y="328"/>
                    </a:lnTo>
                    <a:lnTo>
                      <a:pt x="566" y="340"/>
                    </a:lnTo>
                    <a:lnTo>
                      <a:pt x="556" y="352"/>
                    </a:lnTo>
                    <a:lnTo>
                      <a:pt x="516" y="528"/>
                    </a:lnTo>
                    <a:lnTo>
                      <a:pt x="304" y="478"/>
                    </a:lnTo>
                    <a:lnTo>
                      <a:pt x="8" y="39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Freeform 67">
                <a:extLst>
                  <a:ext uri="{FF2B5EF4-FFF2-40B4-BE49-F238E27FC236}">
                    <a16:creationId xmlns:a16="http://schemas.microsoft.com/office/drawing/2014/main" id="{11B34589-FBD2-4CEC-9E52-4903702881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0" y="1551"/>
                <a:ext cx="242" cy="421"/>
              </a:xfrm>
              <a:custGeom>
                <a:avLst/>
                <a:gdLst>
                  <a:gd name="T0" fmla="*/ 8 w 240"/>
                  <a:gd name="T1" fmla="*/ 24 h 420"/>
                  <a:gd name="T2" fmla="*/ 28 w 240"/>
                  <a:gd name="T3" fmla="*/ 261 h 420"/>
                  <a:gd name="T4" fmla="*/ 24 w 240"/>
                  <a:gd name="T5" fmla="*/ 265 h 420"/>
                  <a:gd name="T6" fmla="*/ 26 w 240"/>
                  <a:gd name="T7" fmla="*/ 275 h 420"/>
                  <a:gd name="T8" fmla="*/ 24 w 240"/>
                  <a:gd name="T9" fmla="*/ 287 h 420"/>
                  <a:gd name="T10" fmla="*/ 32 w 240"/>
                  <a:gd name="T11" fmla="*/ 305 h 420"/>
                  <a:gd name="T12" fmla="*/ 36 w 240"/>
                  <a:gd name="T13" fmla="*/ 325 h 420"/>
                  <a:gd name="T14" fmla="*/ 24 w 240"/>
                  <a:gd name="T15" fmla="*/ 345 h 420"/>
                  <a:gd name="T16" fmla="*/ 24 w 240"/>
                  <a:gd name="T17" fmla="*/ 351 h 420"/>
                  <a:gd name="T18" fmla="*/ 16 w 240"/>
                  <a:gd name="T19" fmla="*/ 367 h 420"/>
                  <a:gd name="T20" fmla="*/ 6 w 240"/>
                  <a:gd name="T21" fmla="*/ 379 h 420"/>
                  <a:gd name="T22" fmla="*/ 6 w 240"/>
                  <a:gd name="T23" fmla="*/ 393 h 420"/>
                  <a:gd name="T24" fmla="*/ 0 w 240"/>
                  <a:gd name="T25" fmla="*/ 411 h 420"/>
                  <a:gd name="T26" fmla="*/ 0 w 240"/>
                  <a:gd name="T27" fmla="*/ 415 h 420"/>
                  <a:gd name="T28" fmla="*/ 2 w 240"/>
                  <a:gd name="T29" fmla="*/ 419 h 420"/>
                  <a:gd name="T30" fmla="*/ 2 w 240"/>
                  <a:gd name="T31" fmla="*/ 419 h 420"/>
                  <a:gd name="T32" fmla="*/ 8 w 240"/>
                  <a:gd name="T33" fmla="*/ 421 h 420"/>
                  <a:gd name="T34" fmla="*/ 14 w 240"/>
                  <a:gd name="T35" fmla="*/ 419 h 420"/>
                  <a:gd name="T36" fmla="*/ 12 w 240"/>
                  <a:gd name="T37" fmla="*/ 415 h 420"/>
                  <a:gd name="T38" fmla="*/ 16 w 240"/>
                  <a:gd name="T39" fmla="*/ 407 h 420"/>
                  <a:gd name="T40" fmla="*/ 30 w 240"/>
                  <a:gd name="T41" fmla="*/ 409 h 420"/>
                  <a:gd name="T42" fmla="*/ 48 w 240"/>
                  <a:gd name="T43" fmla="*/ 401 h 420"/>
                  <a:gd name="T44" fmla="*/ 73 w 240"/>
                  <a:gd name="T45" fmla="*/ 413 h 420"/>
                  <a:gd name="T46" fmla="*/ 75 w 240"/>
                  <a:gd name="T47" fmla="*/ 415 h 420"/>
                  <a:gd name="T48" fmla="*/ 79 w 240"/>
                  <a:gd name="T49" fmla="*/ 413 h 420"/>
                  <a:gd name="T50" fmla="*/ 85 w 240"/>
                  <a:gd name="T51" fmla="*/ 399 h 420"/>
                  <a:gd name="T52" fmla="*/ 97 w 240"/>
                  <a:gd name="T53" fmla="*/ 393 h 420"/>
                  <a:gd name="T54" fmla="*/ 103 w 240"/>
                  <a:gd name="T55" fmla="*/ 401 h 420"/>
                  <a:gd name="T56" fmla="*/ 111 w 240"/>
                  <a:gd name="T57" fmla="*/ 405 h 420"/>
                  <a:gd name="T58" fmla="*/ 117 w 240"/>
                  <a:gd name="T59" fmla="*/ 401 h 420"/>
                  <a:gd name="T60" fmla="*/ 123 w 240"/>
                  <a:gd name="T61" fmla="*/ 381 h 420"/>
                  <a:gd name="T62" fmla="*/ 129 w 240"/>
                  <a:gd name="T63" fmla="*/ 373 h 420"/>
                  <a:gd name="T64" fmla="*/ 133 w 240"/>
                  <a:gd name="T65" fmla="*/ 375 h 420"/>
                  <a:gd name="T66" fmla="*/ 143 w 240"/>
                  <a:gd name="T67" fmla="*/ 385 h 420"/>
                  <a:gd name="T68" fmla="*/ 163 w 240"/>
                  <a:gd name="T69" fmla="*/ 383 h 420"/>
                  <a:gd name="T70" fmla="*/ 167 w 240"/>
                  <a:gd name="T71" fmla="*/ 367 h 420"/>
                  <a:gd name="T72" fmla="*/ 200 w 240"/>
                  <a:gd name="T73" fmla="*/ 325 h 420"/>
                  <a:gd name="T74" fmla="*/ 200 w 240"/>
                  <a:gd name="T75" fmla="*/ 311 h 420"/>
                  <a:gd name="T76" fmla="*/ 206 w 240"/>
                  <a:gd name="T77" fmla="*/ 307 h 420"/>
                  <a:gd name="T78" fmla="*/ 218 w 240"/>
                  <a:gd name="T79" fmla="*/ 309 h 420"/>
                  <a:gd name="T80" fmla="*/ 228 w 240"/>
                  <a:gd name="T81" fmla="*/ 301 h 420"/>
                  <a:gd name="T82" fmla="*/ 238 w 240"/>
                  <a:gd name="T83" fmla="*/ 299 h 420"/>
                  <a:gd name="T84" fmla="*/ 242 w 240"/>
                  <a:gd name="T85" fmla="*/ 293 h 420"/>
                  <a:gd name="T86" fmla="*/ 236 w 240"/>
                  <a:gd name="T87" fmla="*/ 275 h 420"/>
                  <a:gd name="T88" fmla="*/ 236 w 240"/>
                  <a:gd name="T89" fmla="*/ 271 h 420"/>
                  <a:gd name="T90" fmla="*/ 238 w 240"/>
                  <a:gd name="T91" fmla="*/ 263 h 420"/>
                  <a:gd name="T92" fmla="*/ 210 w 240"/>
                  <a:gd name="T93" fmla="*/ 4 h 420"/>
                  <a:gd name="T94" fmla="*/ 210 w 240"/>
                  <a:gd name="T95" fmla="*/ 0 h 420"/>
                  <a:gd name="T96" fmla="*/ 54 w 240"/>
                  <a:gd name="T97" fmla="*/ 18 h 420"/>
                  <a:gd name="T98" fmla="*/ 50 w 240"/>
                  <a:gd name="T99" fmla="*/ 22 h 420"/>
                  <a:gd name="T100" fmla="*/ 40 w 240"/>
                  <a:gd name="T101" fmla="*/ 26 h 420"/>
                  <a:gd name="T102" fmla="*/ 32 w 240"/>
                  <a:gd name="T103" fmla="*/ 30 h 420"/>
                  <a:gd name="T104" fmla="*/ 18 w 240"/>
                  <a:gd name="T105" fmla="*/ 32 h 420"/>
                  <a:gd name="T106" fmla="*/ 8 w 240"/>
                  <a:gd name="T107" fmla="*/ 24 h 42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40" h="420">
                    <a:moveTo>
                      <a:pt x="8" y="24"/>
                    </a:moveTo>
                    <a:lnTo>
                      <a:pt x="28" y="260"/>
                    </a:lnTo>
                    <a:lnTo>
                      <a:pt x="24" y="264"/>
                    </a:lnTo>
                    <a:lnTo>
                      <a:pt x="26" y="274"/>
                    </a:lnTo>
                    <a:lnTo>
                      <a:pt x="24" y="286"/>
                    </a:lnTo>
                    <a:lnTo>
                      <a:pt x="32" y="304"/>
                    </a:lnTo>
                    <a:lnTo>
                      <a:pt x="36" y="324"/>
                    </a:lnTo>
                    <a:lnTo>
                      <a:pt x="24" y="344"/>
                    </a:lnTo>
                    <a:lnTo>
                      <a:pt x="24" y="350"/>
                    </a:lnTo>
                    <a:lnTo>
                      <a:pt x="16" y="366"/>
                    </a:lnTo>
                    <a:lnTo>
                      <a:pt x="6" y="378"/>
                    </a:lnTo>
                    <a:lnTo>
                      <a:pt x="6" y="392"/>
                    </a:lnTo>
                    <a:lnTo>
                      <a:pt x="0" y="410"/>
                    </a:lnTo>
                    <a:lnTo>
                      <a:pt x="0" y="414"/>
                    </a:lnTo>
                    <a:lnTo>
                      <a:pt x="2" y="418"/>
                    </a:lnTo>
                    <a:lnTo>
                      <a:pt x="8" y="420"/>
                    </a:lnTo>
                    <a:lnTo>
                      <a:pt x="14" y="418"/>
                    </a:lnTo>
                    <a:lnTo>
                      <a:pt x="12" y="414"/>
                    </a:lnTo>
                    <a:lnTo>
                      <a:pt x="16" y="406"/>
                    </a:lnTo>
                    <a:lnTo>
                      <a:pt x="30" y="408"/>
                    </a:lnTo>
                    <a:lnTo>
                      <a:pt x="48" y="400"/>
                    </a:lnTo>
                    <a:lnTo>
                      <a:pt x="72" y="412"/>
                    </a:lnTo>
                    <a:lnTo>
                      <a:pt x="74" y="414"/>
                    </a:lnTo>
                    <a:lnTo>
                      <a:pt x="78" y="412"/>
                    </a:lnTo>
                    <a:lnTo>
                      <a:pt x="84" y="398"/>
                    </a:lnTo>
                    <a:lnTo>
                      <a:pt x="96" y="392"/>
                    </a:lnTo>
                    <a:lnTo>
                      <a:pt x="102" y="400"/>
                    </a:lnTo>
                    <a:lnTo>
                      <a:pt x="110" y="404"/>
                    </a:lnTo>
                    <a:lnTo>
                      <a:pt x="116" y="400"/>
                    </a:lnTo>
                    <a:lnTo>
                      <a:pt x="122" y="380"/>
                    </a:lnTo>
                    <a:lnTo>
                      <a:pt x="128" y="372"/>
                    </a:lnTo>
                    <a:lnTo>
                      <a:pt x="132" y="374"/>
                    </a:lnTo>
                    <a:lnTo>
                      <a:pt x="142" y="384"/>
                    </a:lnTo>
                    <a:lnTo>
                      <a:pt x="162" y="382"/>
                    </a:lnTo>
                    <a:lnTo>
                      <a:pt x="166" y="366"/>
                    </a:lnTo>
                    <a:lnTo>
                      <a:pt x="198" y="324"/>
                    </a:lnTo>
                    <a:lnTo>
                      <a:pt x="198" y="310"/>
                    </a:lnTo>
                    <a:lnTo>
                      <a:pt x="204" y="306"/>
                    </a:lnTo>
                    <a:lnTo>
                      <a:pt x="216" y="308"/>
                    </a:lnTo>
                    <a:lnTo>
                      <a:pt x="226" y="300"/>
                    </a:lnTo>
                    <a:lnTo>
                      <a:pt x="236" y="298"/>
                    </a:lnTo>
                    <a:lnTo>
                      <a:pt x="240" y="292"/>
                    </a:lnTo>
                    <a:lnTo>
                      <a:pt x="234" y="274"/>
                    </a:lnTo>
                    <a:lnTo>
                      <a:pt x="234" y="270"/>
                    </a:lnTo>
                    <a:lnTo>
                      <a:pt x="236" y="262"/>
                    </a:lnTo>
                    <a:lnTo>
                      <a:pt x="208" y="4"/>
                    </a:lnTo>
                    <a:lnTo>
                      <a:pt x="208" y="0"/>
                    </a:lnTo>
                    <a:lnTo>
                      <a:pt x="54" y="18"/>
                    </a:lnTo>
                    <a:lnTo>
                      <a:pt x="50" y="22"/>
                    </a:lnTo>
                    <a:lnTo>
                      <a:pt x="40" y="26"/>
                    </a:lnTo>
                    <a:lnTo>
                      <a:pt x="32" y="30"/>
                    </a:lnTo>
                    <a:lnTo>
                      <a:pt x="18" y="32"/>
                    </a:lnTo>
                    <a:lnTo>
                      <a:pt x="8" y="2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63" name="Group 277">
                <a:extLst>
                  <a:ext uri="{FF2B5EF4-FFF2-40B4-BE49-F238E27FC236}">
                    <a16:creationId xmlns:a16="http://schemas.microsoft.com/office/drawing/2014/main" id="{D062A6F9-4CF5-43D1-A4CA-CA4A2129732B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4084" y="1708"/>
                <a:ext cx="621" cy="343"/>
                <a:chOff x="4084" y="1708"/>
                <a:chExt cx="621" cy="343"/>
              </a:xfrm>
              <a:grpFill/>
            </p:grpSpPr>
            <p:sp>
              <p:nvSpPr>
                <p:cNvPr id="64" name="Freeform 24">
                  <a:extLst>
                    <a:ext uri="{FF2B5EF4-FFF2-40B4-BE49-F238E27FC236}">
                      <a16:creationId xmlns:a16="http://schemas.microsoft.com/office/drawing/2014/main" id="{B3B310B3-FBDA-4534-BFF8-95B7B87717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84" y="1708"/>
                  <a:ext cx="604" cy="343"/>
                </a:xfrm>
                <a:custGeom>
                  <a:avLst/>
                  <a:gdLst>
                    <a:gd name="T0" fmla="*/ 187 w 600"/>
                    <a:gd name="T1" fmla="*/ 321 h 344"/>
                    <a:gd name="T2" fmla="*/ 153 w 600"/>
                    <a:gd name="T3" fmla="*/ 325 h 344"/>
                    <a:gd name="T4" fmla="*/ 133 w 600"/>
                    <a:gd name="T5" fmla="*/ 327 h 344"/>
                    <a:gd name="T6" fmla="*/ 34 w 600"/>
                    <a:gd name="T7" fmla="*/ 325 h 344"/>
                    <a:gd name="T8" fmla="*/ 54 w 600"/>
                    <a:gd name="T9" fmla="*/ 299 h 344"/>
                    <a:gd name="T10" fmla="*/ 64 w 600"/>
                    <a:gd name="T11" fmla="*/ 283 h 344"/>
                    <a:gd name="T12" fmla="*/ 117 w 600"/>
                    <a:gd name="T13" fmla="*/ 233 h 344"/>
                    <a:gd name="T14" fmla="*/ 127 w 600"/>
                    <a:gd name="T15" fmla="*/ 255 h 344"/>
                    <a:gd name="T16" fmla="*/ 163 w 600"/>
                    <a:gd name="T17" fmla="*/ 255 h 344"/>
                    <a:gd name="T18" fmla="*/ 177 w 600"/>
                    <a:gd name="T19" fmla="*/ 251 h 344"/>
                    <a:gd name="T20" fmla="*/ 205 w 600"/>
                    <a:gd name="T21" fmla="*/ 243 h 344"/>
                    <a:gd name="T22" fmla="*/ 215 w 600"/>
                    <a:gd name="T23" fmla="*/ 235 h 344"/>
                    <a:gd name="T24" fmla="*/ 250 w 600"/>
                    <a:gd name="T25" fmla="*/ 207 h 344"/>
                    <a:gd name="T26" fmla="*/ 262 w 600"/>
                    <a:gd name="T27" fmla="*/ 166 h 344"/>
                    <a:gd name="T28" fmla="*/ 292 w 600"/>
                    <a:gd name="T29" fmla="*/ 106 h 344"/>
                    <a:gd name="T30" fmla="*/ 308 w 600"/>
                    <a:gd name="T31" fmla="*/ 112 h 344"/>
                    <a:gd name="T32" fmla="*/ 326 w 600"/>
                    <a:gd name="T33" fmla="*/ 68 h 344"/>
                    <a:gd name="T34" fmla="*/ 348 w 600"/>
                    <a:gd name="T35" fmla="*/ 54 h 344"/>
                    <a:gd name="T36" fmla="*/ 362 w 600"/>
                    <a:gd name="T37" fmla="*/ 32 h 344"/>
                    <a:gd name="T38" fmla="*/ 360 w 600"/>
                    <a:gd name="T39" fmla="*/ 6 h 344"/>
                    <a:gd name="T40" fmla="*/ 403 w 600"/>
                    <a:gd name="T41" fmla="*/ 22 h 344"/>
                    <a:gd name="T42" fmla="*/ 413 w 600"/>
                    <a:gd name="T43" fmla="*/ 4 h 344"/>
                    <a:gd name="T44" fmla="*/ 433 w 600"/>
                    <a:gd name="T45" fmla="*/ 8 h 344"/>
                    <a:gd name="T46" fmla="*/ 453 w 600"/>
                    <a:gd name="T47" fmla="*/ 26 h 344"/>
                    <a:gd name="T48" fmla="*/ 475 w 600"/>
                    <a:gd name="T49" fmla="*/ 44 h 344"/>
                    <a:gd name="T50" fmla="*/ 459 w 600"/>
                    <a:gd name="T51" fmla="*/ 82 h 344"/>
                    <a:gd name="T52" fmla="*/ 481 w 600"/>
                    <a:gd name="T53" fmla="*/ 86 h 344"/>
                    <a:gd name="T54" fmla="*/ 499 w 600"/>
                    <a:gd name="T55" fmla="*/ 100 h 344"/>
                    <a:gd name="T56" fmla="*/ 513 w 600"/>
                    <a:gd name="T57" fmla="*/ 104 h 344"/>
                    <a:gd name="T58" fmla="*/ 548 w 600"/>
                    <a:gd name="T59" fmla="*/ 116 h 344"/>
                    <a:gd name="T60" fmla="*/ 548 w 600"/>
                    <a:gd name="T61" fmla="*/ 132 h 344"/>
                    <a:gd name="T62" fmla="*/ 544 w 600"/>
                    <a:gd name="T63" fmla="*/ 150 h 344"/>
                    <a:gd name="T64" fmla="*/ 562 w 600"/>
                    <a:gd name="T65" fmla="*/ 166 h 344"/>
                    <a:gd name="T66" fmla="*/ 550 w 600"/>
                    <a:gd name="T67" fmla="*/ 172 h 344"/>
                    <a:gd name="T68" fmla="*/ 554 w 600"/>
                    <a:gd name="T69" fmla="*/ 179 h 344"/>
                    <a:gd name="T70" fmla="*/ 544 w 600"/>
                    <a:gd name="T71" fmla="*/ 185 h 344"/>
                    <a:gd name="T72" fmla="*/ 556 w 600"/>
                    <a:gd name="T73" fmla="*/ 193 h 344"/>
                    <a:gd name="T74" fmla="*/ 558 w 600"/>
                    <a:gd name="T75" fmla="*/ 209 h 344"/>
                    <a:gd name="T76" fmla="*/ 542 w 600"/>
                    <a:gd name="T77" fmla="*/ 209 h 344"/>
                    <a:gd name="T78" fmla="*/ 566 w 600"/>
                    <a:gd name="T79" fmla="*/ 217 h 344"/>
                    <a:gd name="T80" fmla="*/ 594 w 600"/>
                    <a:gd name="T81" fmla="*/ 209 h 344"/>
                    <a:gd name="T82" fmla="*/ 598 w 600"/>
                    <a:gd name="T83" fmla="*/ 245 h 344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0" t="0" r="r" b="b"/>
                  <a:pathLst>
                    <a:path w="600" h="344">
                      <a:moveTo>
                        <a:pt x="592" y="250"/>
                      </a:moveTo>
                      <a:lnTo>
                        <a:pt x="394" y="288"/>
                      </a:lnTo>
                      <a:lnTo>
                        <a:pt x="186" y="322"/>
                      </a:lnTo>
                      <a:lnTo>
                        <a:pt x="182" y="322"/>
                      </a:lnTo>
                      <a:lnTo>
                        <a:pt x="174" y="324"/>
                      </a:lnTo>
                      <a:lnTo>
                        <a:pt x="152" y="326"/>
                      </a:lnTo>
                      <a:lnTo>
                        <a:pt x="154" y="322"/>
                      </a:lnTo>
                      <a:lnTo>
                        <a:pt x="132" y="326"/>
                      </a:lnTo>
                      <a:lnTo>
                        <a:pt x="132" y="328"/>
                      </a:lnTo>
                      <a:lnTo>
                        <a:pt x="0" y="344"/>
                      </a:lnTo>
                      <a:lnTo>
                        <a:pt x="6" y="340"/>
                      </a:lnTo>
                      <a:lnTo>
                        <a:pt x="34" y="326"/>
                      </a:lnTo>
                      <a:lnTo>
                        <a:pt x="38" y="318"/>
                      </a:lnTo>
                      <a:lnTo>
                        <a:pt x="54" y="308"/>
                      </a:lnTo>
                      <a:lnTo>
                        <a:pt x="54" y="300"/>
                      </a:lnTo>
                      <a:lnTo>
                        <a:pt x="56" y="296"/>
                      </a:lnTo>
                      <a:lnTo>
                        <a:pt x="64" y="292"/>
                      </a:lnTo>
                      <a:lnTo>
                        <a:pt x="64" y="284"/>
                      </a:lnTo>
                      <a:lnTo>
                        <a:pt x="72" y="276"/>
                      </a:lnTo>
                      <a:lnTo>
                        <a:pt x="112" y="242"/>
                      </a:lnTo>
                      <a:lnTo>
                        <a:pt x="116" y="234"/>
                      </a:lnTo>
                      <a:lnTo>
                        <a:pt x="118" y="236"/>
                      </a:lnTo>
                      <a:lnTo>
                        <a:pt x="116" y="244"/>
                      </a:lnTo>
                      <a:lnTo>
                        <a:pt x="126" y="256"/>
                      </a:lnTo>
                      <a:lnTo>
                        <a:pt x="144" y="262"/>
                      </a:lnTo>
                      <a:lnTo>
                        <a:pt x="152" y="262"/>
                      </a:lnTo>
                      <a:lnTo>
                        <a:pt x="162" y="256"/>
                      </a:lnTo>
                      <a:lnTo>
                        <a:pt x="162" y="250"/>
                      </a:lnTo>
                      <a:lnTo>
                        <a:pt x="168" y="246"/>
                      </a:lnTo>
                      <a:lnTo>
                        <a:pt x="176" y="252"/>
                      </a:lnTo>
                      <a:lnTo>
                        <a:pt x="178" y="254"/>
                      </a:lnTo>
                      <a:lnTo>
                        <a:pt x="184" y="252"/>
                      </a:lnTo>
                      <a:lnTo>
                        <a:pt x="204" y="244"/>
                      </a:lnTo>
                      <a:lnTo>
                        <a:pt x="208" y="232"/>
                      </a:lnTo>
                      <a:lnTo>
                        <a:pt x="210" y="232"/>
                      </a:lnTo>
                      <a:lnTo>
                        <a:pt x="214" y="236"/>
                      </a:lnTo>
                      <a:lnTo>
                        <a:pt x="230" y="222"/>
                      </a:lnTo>
                      <a:lnTo>
                        <a:pt x="236" y="226"/>
                      </a:lnTo>
                      <a:lnTo>
                        <a:pt x="248" y="208"/>
                      </a:lnTo>
                      <a:lnTo>
                        <a:pt x="244" y="202"/>
                      </a:lnTo>
                      <a:lnTo>
                        <a:pt x="246" y="190"/>
                      </a:lnTo>
                      <a:lnTo>
                        <a:pt x="260" y="166"/>
                      </a:lnTo>
                      <a:lnTo>
                        <a:pt x="276" y="100"/>
                      </a:lnTo>
                      <a:lnTo>
                        <a:pt x="280" y="100"/>
                      </a:lnTo>
                      <a:lnTo>
                        <a:pt x="290" y="106"/>
                      </a:lnTo>
                      <a:lnTo>
                        <a:pt x="290" y="110"/>
                      </a:lnTo>
                      <a:lnTo>
                        <a:pt x="296" y="114"/>
                      </a:lnTo>
                      <a:lnTo>
                        <a:pt x="306" y="112"/>
                      </a:lnTo>
                      <a:lnTo>
                        <a:pt x="312" y="102"/>
                      </a:lnTo>
                      <a:lnTo>
                        <a:pt x="318" y="76"/>
                      </a:lnTo>
                      <a:lnTo>
                        <a:pt x="324" y="68"/>
                      </a:lnTo>
                      <a:lnTo>
                        <a:pt x="334" y="72"/>
                      </a:lnTo>
                      <a:lnTo>
                        <a:pt x="340" y="58"/>
                      </a:lnTo>
                      <a:lnTo>
                        <a:pt x="346" y="54"/>
                      </a:lnTo>
                      <a:lnTo>
                        <a:pt x="350" y="48"/>
                      </a:lnTo>
                      <a:lnTo>
                        <a:pt x="356" y="34"/>
                      </a:lnTo>
                      <a:lnTo>
                        <a:pt x="360" y="32"/>
                      </a:lnTo>
                      <a:lnTo>
                        <a:pt x="360" y="28"/>
                      </a:lnTo>
                      <a:lnTo>
                        <a:pt x="358" y="26"/>
                      </a:lnTo>
                      <a:lnTo>
                        <a:pt x="358" y="6"/>
                      </a:lnTo>
                      <a:lnTo>
                        <a:pt x="360" y="2"/>
                      </a:lnTo>
                      <a:lnTo>
                        <a:pt x="364" y="0"/>
                      </a:lnTo>
                      <a:lnTo>
                        <a:pt x="400" y="22"/>
                      </a:lnTo>
                      <a:lnTo>
                        <a:pt x="404" y="24"/>
                      </a:lnTo>
                      <a:lnTo>
                        <a:pt x="406" y="22"/>
                      </a:lnTo>
                      <a:lnTo>
                        <a:pt x="410" y="4"/>
                      </a:lnTo>
                      <a:lnTo>
                        <a:pt x="416" y="2"/>
                      </a:lnTo>
                      <a:lnTo>
                        <a:pt x="422" y="6"/>
                      </a:lnTo>
                      <a:lnTo>
                        <a:pt x="430" y="8"/>
                      </a:lnTo>
                      <a:lnTo>
                        <a:pt x="426" y="16"/>
                      </a:lnTo>
                      <a:lnTo>
                        <a:pt x="434" y="26"/>
                      </a:lnTo>
                      <a:lnTo>
                        <a:pt x="450" y="26"/>
                      </a:lnTo>
                      <a:lnTo>
                        <a:pt x="456" y="32"/>
                      </a:lnTo>
                      <a:lnTo>
                        <a:pt x="466" y="36"/>
                      </a:lnTo>
                      <a:lnTo>
                        <a:pt x="472" y="44"/>
                      </a:lnTo>
                      <a:lnTo>
                        <a:pt x="470" y="48"/>
                      </a:lnTo>
                      <a:lnTo>
                        <a:pt x="460" y="66"/>
                      </a:lnTo>
                      <a:lnTo>
                        <a:pt x="456" y="82"/>
                      </a:lnTo>
                      <a:lnTo>
                        <a:pt x="456" y="92"/>
                      </a:lnTo>
                      <a:lnTo>
                        <a:pt x="468" y="94"/>
                      </a:lnTo>
                      <a:lnTo>
                        <a:pt x="478" y="86"/>
                      </a:lnTo>
                      <a:lnTo>
                        <a:pt x="486" y="96"/>
                      </a:lnTo>
                      <a:lnTo>
                        <a:pt x="492" y="98"/>
                      </a:lnTo>
                      <a:lnTo>
                        <a:pt x="496" y="100"/>
                      </a:lnTo>
                      <a:lnTo>
                        <a:pt x="500" y="104"/>
                      </a:lnTo>
                      <a:lnTo>
                        <a:pt x="504" y="106"/>
                      </a:lnTo>
                      <a:lnTo>
                        <a:pt x="510" y="104"/>
                      </a:lnTo>
                      <a:lnTo>
                        <a:pt x="512" y="104"/>
                      </a:lnTo>
                      <a:lnTo>
                        <a:pt x="530" y="114"/>
                      </a:lnTo>
                      <a:lnTo>
                        <a:pt x="544" y="116"/>
                      </a:lnTo>
                      <a:lnTo>
                        <a:pt x="550" y="124"/>
                      </a:lnTo>
                      <a:lnTo>
                        <a:pt x="548" y="128"/>
                      </a:lnTo>
                      <a:lnTo>
                        <a:pt x="544" y="132"/>
                      </a:lnTo>
                      <a:lnTo>
                        <a:pt x="546" y="144"/>
                      </a:lnTo>
                      <a:lnTo>
                        <a:pt x="544" y="148"/>
                      </a:lnTo>
                      <a:lnTo>
                        <a:pt x="540" y="150"/>
                      </a:lnTo>
                      <a:lnTo>
                        <a:pt x="554" y="158"/>
                      </a:lnTo>
                      <a:lnTo>
                        <a:pt x="558" y="166"/>
                      </a:lnTo>
                      <a:lnTo>
                        <a:pt x="558" y="170"/>
                      </a:lnTo>
                      <a:lnTo>
                        <a:pt x="556" y="174"/>
                      </a:lnTo>
                      <a:lnTo>
                        <a:pt x="546" y="172"/>
                      </a:lnTo>
                      <a:lnTo>
                        <a:pt x="544" y="176"/>
                      </a:lnTo>
                      <a:lnTo>
                        <a:pt x="548" y="180"/>
                      </a:lnTo>
                      <a:lnTo>
                        <a:pt x="550" y="180"/>
                      </a:lnTo>
                      <a:lnTo>
                        <a:pt x="550" y="184"/>
                      </a:lnTo>
                      <a:lnTo>
                        <a:pt x="544" y="186"/>
                      </a:lnTo>
                      <a:lnTo>
                        <a:pt x="540" y="186"/>
                      </a:lnTo>
                      <a:lnTo>
                        <a:pt x="540" y="188"/>
                      </a:lnTo>
                      <a:lnTo>
                        <a:pt x="544" y="192"/>
                      </a:lnTo>
                      <a:lnTo>
                        <a:pt x="552" y="194"/>
                      </a:lnTo>
                      <a:lnTo>
                        <a:pt x="562" y="196"/>
                      </a:lnTo>
                      <a:lnTo>
                        <a:pt x="564" y="200"/>
                      </a:lnTo>
                      <a:lnTo>
                        <a:pt x="554" y="210"/>
                      </a:lnTo>
                      <a:lnTo>
                        <a:pt x="550" y="210"/>
                      </a:lnTo>
                      <a:lnTo>
                        <a:pt x="538" y="206"/>
                      </a:lnTo>
                      <a:lnTo>
                        <a:pt x="538" y="210"/>
                      </a:lnTo>
                      <a:lnTo>
                        <a:pt x="546" y="216"/>
                      </a:lnTo>
                      <a:lnTo>
                        <a:pt x="554" y="220"/>
                      </a:lnTo>
                      <a:lnTo>
                        <a:pt x="562" y="218"/>
                      </a:lnTo>
                      <a:lnTo>
                        <a:pt x="570" y="210"/>
                      </a:lnTo>
                      <a:lnTo>
                        <a:pt x="578" y="212"/>
                      </a:lnTo>
                      <a:lnTo>
                        <a:pt x="590" y="210"/>
                      </a:lnTo>
                      <a:lnTo>
                        <a:pt x="592" y="212"/>
                      </a:lnTo>
                      <a:lnTo>
                        <a:pt x="600" y="240"/>
                      </a:lnTo>
                      <a:lnTo>
                        <a:pt x="594" y="246"/>
                      </a:lnTo>
                      <a:lnTo>
                        <a:pt x="592" y="246"/>
                      </a:lnTo>
                      <a:lnTo>
                        <a:pt x="592" y="250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5" name="Freeform 276">
                  <a:extLst>
                    <a:ext uri="{FF2B5EF4-FFF2-40B4-BE49-F238E27FC236}">
                      <a16:creationId xmlns:a16="http://schemas.microsoft.com/office/drawing/2014/main" id="{56BF6880-17F4-49F5-8665-518C976184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65" y="1801"/>
                  <a:ext cx="40" cy="95"/>
                </a:xfrm>
                <a:custGeom>
                  <a:avLst/>
                  <a:gdLst>
                    <a:gd name="T0" fmla="*/ 11 w 19"/>
                    <a:gd name="T1" fmla="*/ 17 h 44"/>
                    <a:gd name="T2" fmla="*/ 11 w 19"/>
                    <a:gd name="T3" fmla="*/ 15 h 44"/>
                    <a:gd name="T4" fmla="*/ 8 w 19"/>
                    <a:gd name="T5" fmla="*/ 24 h 44"/>
                    <a:gd name="T6" fmla="*/ 6 w 19"/>
                    <a:gd name="T7" fmla="*/ 26 h 44"/>
                    <a:gd name="T8" fmla="*/ 13 w 19"/>
                    <a:gd name="T9" fmla="*/ 26 h 44"/>
                    <a:gd name="T10" fmla="*/ 11 w 19"/>
                    <a:gd name="T11" fmla="*/ 37 h 44"/>
                    <a:gd name="T12" fmla="*/ 6 w 19"/>
                    <a:gd name="T13" fmla="*/ 50 h 44"/>
                    <a:gd name="T14" fmla="*/ 4 w 19"/>
                    <a:gd name="T15" fmla="*/ 58 h 44"/>
                    <a:gd name="T16" fmla="*/ 2 w 19"/>
                    <a:gd name="T17" fmla="*/ 76 h 44"/>
                    <a:gd name="T18" fmla="*/ 6 w 19"/>
                    <a:gd name="T19" fmla="*/ 86 h 44"/>
                    <a:gd name="T20" fmla="*/ 11 w 19"/>
                    <a:gd name="T21" fmla="*/ 91 h 44"/>
                    <a:gd name="T22" fmla="*/ 13 w 19"/>
                    <a:gd name="T23" fmla="*/ 82 h 44"/>
                    <a:gd name="T24" fmla="*/ 15 w 19"/>
                    <a:gd name="T25" fmla="*/ 71 h 44"/>
                    <a:gd name="T26" fmla="*/ 21 w 19"/>
                    <a:gd name="T27" fmla="*/ 63 h 44"/>
                    <a:gd name="T28" fmla="*/ 23 w 19"/>
                    <a:gd name="T29" fmla="*/ 56 h 44"/>
                    <a:gd name="T30" fmla="*/ 27 w 19"/>
                    <a:gd name="T31" fmla="*/ 50 h 44"/>
                    <a:gd name="T32" fmla="*/ 34 w 19"/>
                    <a:gd name="T33" fmla="*/ 30 h 44"/>
                    <a:gd name="T34" fmla="*/ 34 w 19"/>
                    <a:gd name="T35" fmla="*/ 19 h 44"/>
                    <a:gd name="T36" fmla="*/ 38 w 19"/>
                    <a:gd name="T37" fmla="*/ 4 h 44"/>
                    <a:gd name="T38" fmla="*/ 40 w 19"/>
                    <a:gd name="T39" fmla="*/ 0 h 44"/>
                    <a:gd name="T40" fmla="*/ 17 w 19"/>
                    <a:gd name="T41" fmla="*/ 9 h 44"/>
                    <a:gd name="T42" fmla="*/ 11 w 19"/>
                    <a:gd name="T43" fmla="*/ 17 h 44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19" h="44">
                      <a:moveTo>
                        <a:pt x="5" y="8"/>
                      </a:moveTo>
                      <a:cubicBezTo>
                        <a:pt x="5" y="7"/>
                        <a:pt x="5" y="7"/>
                        <a:pt x="5" y="7"/>
                      </a:cubicBezTo>
                      <a:cubicBezTo>
                        <a:pt x="5" y="8"/>
                        <a:pt x="5" y="10"/>
                        <a:pt x="4" y="11"/>
                      </a:cubicBezTo>
                      <a:cubicBezTo>
                        <a:pt x="3" y="11"/>
                        <a:pt x="3" y="12"/>
                        <a:pt x="3" y="12"/>
                      </a:cubicBezTo>
                      <a:cubicBezTo>
                        <a:pt x="4" y="13"/>
                        <a:pt x="6" y="12"/>
                        <a:pt x="6" y="12"/>
                      </a:cubicBezTo>
                      <a:cubicBezTo>
                        <a:pt x="7" y="13"/>
                        <a:pt x="5" y="15"/>
                        <a:pt x="5" y="17"/>
                      </a:cubicBezTo>
                      <a:cubicBezTo>
                        <a:pt x="5" y="18"/>
                        <a:pt x="4" y="21"/>
                        <a:pt x="3" y="23"/>
                      </a:cubicBezTo>
                      <a:cubicBezTo>
                        <a:pt x="2" y="25"/>
                        <a:pt x="2" y="27"/>
                        <a:pt x="2" y="27"/>
                      </a:cubicBezTo>
                      <a:cubicBezTo>
                        <a:pt x="2" y="27"/>
                        <a:pt x="0" y="33"/>
                        <a:pt x="1" y="35"/>
                      </a:cubicBezTo>
                      <a:cubicBezTo>
                        <a:pt x="2" y="38"/>
                        <a:pt x="3" y="40"/>
                        <a:pt x="3" y="40"/>
                      </a:cubicBezTo>
                      <a:cubicBezTo>
                        <a:pt x="3" y="40"/>
                        <a:pt x="4" y="44"/>
                        <a:pt x="5" y="42"/>
                      </a:cubicBezTo>
                      <a:cubicBezTo>
                        <a:pt x="6" y="41"/>
                        <a:pt x="5" y="39"/>
                        <a:pt x="6" y="38"/>
                      </a:cubicBezTo>
                      <a:cubicBezTo>
                        <a:pt x="6" y="38"/>
                        <a:pt x="7" y="35"/>
                        <a:pt x="7" y="33"/>
                      </a:cubicBezTo>
                      <a:cubicBezTo>
                        <a:pt x="7" y="32"/>
                        <a:pt x="8" y="30"/>
                        <a:pt x="10" y="29"/>
                      </a:cubicBezTo>
                      <a:cubicBezTo>
                        <a:pt x="11" y="27"/>
                        <a:pt x="10" y="27"/>
                        <a:pt x="11" y="26"/>
                      </a:cubicBezTo>
                      <a:cubicBezTo>
                        <a:pt x="13" y="24"/>
                        <a:pt x="13" y="25"/>
                        <a:pt x="13" y="23"/>
                      </a:cubicBezTo>
                      <a:cubicBezTo>
                        <a:pt x="13" y="18"/>
                        <a:pt x="16" y="17"/>
                        <a:pt x="16" y="14"/>
                      </a:cubicBezTo>
                      <a:cubicBezTo>
                        <a:pt x="16" y="11"/>
                        <a:pt x="16" y="11"/>
                        <a:pt x="16" y="9"/>
                      </a:cubicBezTo>
                      <a:cubicBezTo>
                        <a:pt x="16" y="6"/>
                        <a:pt x="17" y="3"/>
                        <a:pt x="18" y="2"/>
                      </a:cubicBezTo>
                      <a:cubicBezTo>
                        <a:pt x="19" y="2"/>
                        <a:pt x="19" y="1"/>
                        <a:pt x="19" y="0"/>
                      </a:cubicBezTo>
                      <a:cubicBezTo>
                        <a:pt x="8" y="4"/>
                        <a:pt x="8" y="4"/>
                        <a:pt x="8" y="4"/>
                      </a:cubicBezTo>
                      <a:lnTo>
                        <a:pt x="5" y="8"/>
                      </a:lnTo>
                      <a:close/>
                    </a:path>
                  </a:pathLst>
                </a:custGeom>
                <a:grpFill/>
                <a:ln w="3175" cap="flat" cmpd="sng">
                  <a:solidFill>
                    <a:schemeClr val="accent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</p:grpSp>
      <p:sp>
        <p:nvSpPr>
          <p:cNvPr id="89" name="Oval 88">
            <a:extLst>
              <a:ext uri="{FF2B5EF4-FFF2-40B4-BE49-F238E27FC236}">
                <a16:creationId xmlns:a16="http://schemas.microsoft.com/office/drawing/2014/main" id="{1FB74DBD-D0EC-45D3-9E73-2E9624CCDE4E}"/>
              </a:ext>
            </a:extLst>
          </p:cNvPr>
          <p:cNvSpPr/>
          <p:nvPr/>
        </p:nvSpPr>
        <p:spPr bwMode="gray">
          <a:xfrm>
            <a:off x="6551519" y="2494057"/>
            <a:ext cx="1043177" cy="1043177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517AF229-FD5D-4F52-9280-727F8BEE8D91}"/>
              </a:ext>
            </a:extLst>
          </p:cNvPr>
          <p:cNvSpPr/>
          <p:nvPr/>
        </p:nvSpPr>
        <p:spPr bwMode="gray">
          <a:xfrm>
            <a:off x="2292421" y="2115220"/>
            <a:ext cx="979280" cy="97928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7B8FEB3F-8228-4BEA-903E-194FB43CEB86}"/>
              </a:ext>
            </a:extLst>
          </p:cNvPr>
          <p:cNvSpPr/>
          <p:nvPr/>
        </p:nvSpPr>
        <p:spPr bwMode="gray">
          <a:xfrm>
            <a:off x="2297186" y="3242936"/>
            <a:ext cx="804042" cy="804042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8ACAB330-31C4-4E90-8AC2-551B14A378DF}"/>
              </a:ext>
            </a:extLst>
          </p:cNvPr>
          <p:cNvSpPr/>
          <p:nvPr/>
        </p:nvSpPr>
        <p:spPr bwMode="gray">
          <a:xfrm>
            <a:off x="5093434" y="3385302"/>
            <a:ext cx="548984" cy="548984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57CCDD36-7605-4BE0-B558-0A71F5905CAD}"/>
              </a:ext>
            </a:extLst>
          </p:cNvPr>
          <p:cNvSpPr/>
          <p:nvPr/>
        </p:nvSpPr>
        <p:spPr bwMode="gray">
          <a:xfrm>
            <a:off x="4490744" y="2946653"/>
            <a:ext cx="548984" cy="548984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1FB45E67-EC9B-457D-A551-DCAE9395FC4F}"/>
              </a:ext>
            </a:extLst>
          </p:cNvPr>
          <p:cNvSpPr/>
          <p:nvPr/>
        </p:nvSpPr>
        <p:spPr bwMode="gray">
          <a:xfrm>
            <a:off x="6265023" y="4784171"/>
            <a:ext cx="548984" cy="548984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9ED41022-5A7E-4115-9EE0-A5778FE269E3}"/>
              </a:ext>
            </a:extLst>
          </p:cNvPr>
          <p:cNvSpPr/>
          <p:nvPr/>
        </p:nvSpPr>
        <p:spPr bwMode="gray">
          <a:xfrm>
            <a:off x="4437545" y="3960899"/>
            <a:ext cx="999594" cy="999594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911B20F8-04CE-459B-B6C9-F2F96FD050CA}"/>
              </a:ext>
            </a:extLst>
          </p:cNvPr>
          <p:cNvSpPr/>
          <p:nvPr/>
        </p:nvSpPr>
        <p:spPr bwMode="gray">
          <a:xfrm>
            <a:off x="4265795" y="3495512"/>
            <a:ext cx="297413" cy="297413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E021ED79-26E8-481C-91D4-14E3F313E58F}"/>
              </a:ext>
            </a:extLst>
          </p:cNvPr>
          <p:cNvSpPr/>
          <p:nvPr/>
        </p:nvSpPr>
        <p:spPr bwMode="gray">
          <a:xfrm>
            <a:off x="3587553" y="3820954"/>
            <a:ext cx="297413" cy="297413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F390AB90-5D7B-45B1-AA49-2294BA100376}"/>
              </a:ext>
            </a:extLst>
          </p:cNvPr>
          <p:cNvSpPr/>
          <p:nvPr/>
        </p:nvSpPr>
        <p:spPr bwMode="gray">
          <a:xfrm>
            <a:off x="3669741" y="3110236"/>
            <a:ext cx="297413" cy="297413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DEB3CED0-C9A3-4954-9F1B-953F2553BE31}"/>
              </a:ext>
            </a:extLst>
          </p:cNvPr>
          <p:cNvSpPr/>
          <p:nvPr/>
        </p:nvSpPr>
        <p:spPr bwMode="gray">
          <a:xfrm>
            <a:off x="5723016" y="3437413"/>
            <a:ext cx="760489" cy="760489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9DD781B4-3CEE-41BE-9D5B-138A817A00FC}"/>
              </a:ext>
            </a:extLst>
          </p:cNvPr>
          <p:cNvSpPr/>
          <p:nvPr/>
        </p:nvSpPr>
        <p:spPr bwMode="gray">
          <a:xfrm>
            <a:off x="6198443" y="4286924"/>
            <a:ext cx="760489" cy="760489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70F77720-85D3-4466-AD59-7C803860860F}"/>
              </a:ext>
            </a:extLst>
          </p:cNvPr>
          <p:cNvSpPr/>
          <p:nvPr/>
        </p:nvSpPr>
        <p:spPr bwMode="gray">
          <a:xfrm>
            <a:off x="5367276" y="3990939"/>
            <a:ext cx="760489" cy="760489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2D3B1876-1B10-4049-9013-5DD717C3D028}"/>
              </a:ext>
            </a:extLst>
          </p:cNvPr>
          <p:cNvSpPr/>
          <p:nvPr/>
        </p:nvSpPr>
        <p:spPr bwMode="gray">
          <a:xfrm>
            <a:off x="3124477" y="3866548"/>
            <a:ext cx="760489" cy="760489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F86840A5-DF0C-41D8-B460-B9D66CA37023}"/>
              </a:ext>
            </a:extLst>
          </p:cNvPr>
          <p:cNvSpPr/>
          <p:nvPr/>
        </p:nvSpPr>
        <p:spPr bwMode="gray">
          <a:xfrm>
            <a:off x="2320876" y="2696868"/>
            <a:ext cx="1029683" cy="1029681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3FE787B2-D28A-4794-95DB-31FB842C38EB}"/>
              </a:ext>
            </a:extLst>
          </p:cNvPr>
          <p:cNvSpPr/>
          <p:nvPr/>
        </p:nvSpPr>
        <p:spPr bwMode="gray">
          <a:xfrm>
            <a:off x="3624680" y="2373376"/>
            <a:ext cx="548984" cy="548984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FCA0D9A2-C44B-4DB3-8B4D-4070110D09B4}"/>
              </a:ext>
            </a:extLst>
          </p:cNvPr>
          <p:cNvSpPr/>
          <p:nvPr/>
        </p:nvSpPr>
        <p:spPr bwMode="gray">
          <a:xfrm>
            <a:off x="3542163" y="3241172"/>
            <a:ext cx="690747" cy="690747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7AD313C3-DC9F-469E-90ED-CFFA62F26462}"/>
              </a:ext>
            </a:extLst>
          </p:cNvPr>
          <p:cNvSpPr/>
          <p:nvPr/>
        </p:nvSpPr>
        <p:spPr bwMode="gray">
          <a:xfrm>
            <a:off x="4800536" y="2356844"/>
            <a:ext cx="411297" cy="411297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CEC39541-6A5C-49C2-B9A8-06F7DC52FE88}"/>
              </a:ext>
            </a:extLst>
          </p:cNvPr>
          <p:cNvSpPr/>
          <p:nvPr/>
        </p:nvSpPr>
        <p:spPr bwMode="gray">
          <a:xfrm>
            <a:off x="5468554" y="2826860"/>
            <a:ext cx="411297" cy="411297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FB9E85AA-C752-4F9C-989B-F3E99CFE17E7}"/>
              </a:ext>
            </a:extLst>
          </p:cNvPr>
          <p:cNvSpPr/>
          <p:nvPr/>
        </p:nvSpPr>
        <p:spPr bwMode="gray">
          <a:xfrm>
            <a:off x="5791999" y="2907170"/>
            <a:ext cx="671532" cy="671532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908B6D3E-94D0-4338-9B52-08576D75412D}"/>
              </a:ext>
            </a:extLst>
          </p:cNvPr>
          <p:cNvSpPr/>
          <p:nvPr/>
        </p:nvSpPr>
        <p:spPr bwMode="gray">
          <a:xfrm>
            <a:off x="6429424" y="3434594"/>
            <a:ext cx="671532" cy="671532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B66E60B3-CF1B-4289-9E4E-F23BEF15422C}"/>
              </a:ext>
            </a:extLst>
          </p:cNvPr>
          <p:cNvSpPr/>
          <p:nvPr/>
        </p:nvSpPr>
        <p:spPr bwMode="gray">
          <a:xfrm>
            <a:off x="4250808" y="3262882"/>
            <a:ext cx="720699" cy="720699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EB55F5CE-F0F6-4DB2-B7D7-21F4DA7F2908}"/>
              </a:ext>
            </a:extLst>
          </p:cNvPr>
          <p:cNvSpPr/>
          <p:nvPr/>
        </p:nvSpPr>
        <p:spPr bwMode="gray">
          <a:xfrm>
            <a:off x="3980303" y="3800537"/>
            <a:ext cx="720699" cy="720699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0B2A7D22-37A9-450B-85F3-3CC7C5A44A5C}"/>
              </a:ext>
            </a:extLst>
          </p:cNvPr>
          <p:cNvSpPr/>
          <p:nvPr/>
        </p:nvSpPr>
        <p:spPr bwMode="gray">
          <a:xfrm>
            <a:off x="4120846" y="2567749"/>
            <a:ext cx="548984" cy="548984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B77893F2-54A0-4BD5-A35B-CB9F58BAD49E}"/>
              </a:ext>
            </a:extLst>
          </p:cNvPr>
          <p:cNvSpPr/>
          <p:nvPr/>
        </p:nvSpPr>
        <p:spPr bwMode="gray">
          <a:xfrm>
            <a:off x="4865746" y="2617396"/>
            <a:ext cx="548984" cy="548984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44C92482-2555-498B-9F2F-35353E264BC9}"/>
              </a:ext>
            </a:extLst>
          </p:cNvPr>
          <p:cNvSpPr/>
          <p:nvPr/>
        </p:nvSpPr>
        <p:spPr bwMode="gray">
          <a:xfrm>
            <a:off x="5977672" y="3977170"/>
            <a:ext cx="418067" cy="418067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9D6585A1-BFCC-4F09-B048-7473332C9A58}"/>
              </a:ext>
            </a:extLst>
          </p:cNvPr>
          <p:cNvSpPr/>
          <p:nvPr/>
        </p:nvSpPr>
        <p:spPr bwMode="gray">
          <a:xfrm>
            <a:off x="5129401" y="3183184"/>
            <a:ext cx="296804" cy="296804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50C4B8C0-7C32-4A54-BA1C-811AC3FBD59A}"/>
              </a:ext>
            </a:extLst>
          </p:cNvPr>
          <p:cNvSpPr/>
          <p:nvPr/>
        </p:nvSpPr>
        <p:spPr bwMode="gray">
          <a:xfrm>
            <a:off x="3289556" y="2651780"/>
            <a:ext cx="690747" cy="690747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BCA583E2-6B92-4FAB-9EFB-F84E0DF88221}"/>
              </a:ext>
            </a:extLst>
          </p:cNvPr>
          <p:cNvSpPr/>
          <p:nvPr/>
        </p:nvSpPr>
        <p:spPr bwMode="gray">
          <a:xfrm>
            <a:off x="4034498" y="4506961"/>
            <a:ext cx="999594" cy="999594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7DCC089C-B670-4450-90A4-D777DB29F92F}"/>
              </a:ext>
            </a:extLst>
          </p:cNvPr>
          <p:cNvSpPr/>
          <p:nvPr/>
        </p:nvSpPr>
        <p:spPr bwMode="gray">
          <a:xfrm>
            <a:off x="1257530" y="4176091"/>
            <a:ext cx="438293" cy="438293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D1AFB173-09D8-4843-AC2C-5E64BE240C2E}"/>
              </a:ext>
            </a:extLst>
          </p:cNvPr>
          <p:cNvSpPr/>
          <p:nvPr/>
        </p:nvSpPr>
        <p:spPr bwMode="gray">
          <a:xfrm>
            <a:off x="879521" y="2609425"/>
            <a:ext cx="687713" cy="687713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CBFA1586-B15F-47B4-BF5D-FD01B7F564F3}"/>
              </a:ext>
            </a:extLst>
          </p:cNvPr>
          <p:cNvSpPr/>
          <p:nvPr/>
        </p:nvSpPr>
        <p:spPr bwMode="gray">
          <a:xfrm>
            <a:off x="2984180" y="3259948"/>
            <a:ext cx="916242" cy="916242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8345F9A4-A50B-4661-B3EE-6FB0EBA47ECA}"/>
              </a:ext>
            </a:extLst>
          </p:cNvPr>
          <p:cNvSpPr/>
          <p:nvPr/>
        </p:nvSpPr>
        <p:spPr bwMode="gray">
          <a:xfrm>
            <a:off x="5025107" y="3726549"/>
            <a:ext cx="253290" cy="25329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915A8134-8C97-4819-A986-CF372DC8C5B0}"/>
              </a:ext>
            </a:extLst>
          </p:cNvPr>
          <p:cNvSpPr/>
          <p:nvPr/>
        </p:nvSpPr>
        <p:spPr bwMode="gray">
          <a:xfrm>
            <a:off x="5584515" y="3322532"/>
            <a:ext cx="253290" cy="25329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01A6F792-09EE-48BC-9A99-10E4208ED355}"/>
              </a:ext>
            </a:extLst>
          </p:cNvPr>
          <p:cNvSpPr/>
          <p:nvPr/>
        </p:nvSpPr>
        <p:spPr bwMode="gray">
          <a:xfrm>
            <a:off x="6604710" y="3879887"/>
            <a:ext cx="253290" cy="25329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41921114-CD96-4F52-BEF5-5C9B0157CC99}"/>
              </a:ext>
            </a:extLst>
          </p:cNvPr>
          <p:cNvSpPr/>
          <p:nvPr/>
        </p:nvSpPr>
        <p:spPr bwMode="gray">
          <a:xfrm>
            <a:off x="5373325" y="4521236"/>
            <a:ext cx="641187" cy="641187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701AD294-6D6F-4544-AAFB-5F46EAA3416A}"/>
              </a:ext>
            </a:extLst>
          </p:cNvPr>
          <p:cNvSpPr/>
          <p:nvPr/>
        </p:nvSpPr>
        <p:spPr bwMode="gray">
          <a:xfrm>
            <a:off x="4190224" y="3094500"/>
            <a:ext cx="253290" cy="25329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F7ED1A8D-CF74-409D-BE35-E00E84461B80}"/>
              </a:ext>
            </a:extLst>
          </p:cNvPr>
          <p:cNvSpPr/>
          <p:nvPr/>
        </p:nvSpPr>
        <p:spPr bwMode="gray">
          <a:xfrm>
            <a:off x="4450091" y="2398490"/>
            <a:ext cx="253290" cy="25329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170C23AB-D88D-4EC4-BC4F-6192481F13EA}"/>
              </a:ext>
            </a:extLst>
          </p:cNvPr>
          <p:cNvSpPr/>
          <p:nvPr/>
        </p:nvSpPr>
        <p:spPr bwMode="gray">
          <a:xfrm>
            <a:off x="7209482" y="2431802"/>
            <a:ext cx="253290" cy="25329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05DE1E3C-6E9C-4436-A0D8-3EEEE3E9410E}"/>
              </a:ext>
            </a:extLst>
          </p:cNvPr>
          <p:cNvSpPr/>
          <p:nvPr/>
        </p:nvSpPr>
        <p:spPr bwMode="gray">
          <a:xfrm>
            <a:off x="6280559" y="3258189"/>
            <a:ext cx="253290" cy="253290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3352DB30-B324-4BD0-9D0A-524C57708175}"/>
              </a:ext>
            </a:extLst>
          </p:cNvPr>
          <p:cNvSpPr/>
          <p:nvPr/>
        </p:nvSpPr>
        <p:spPr bwMode="gray">
          <a:xfrm>
            <a:off x="6223652" y="3990939"/>
            <a:ext cx="580341" cy="580341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6E5A7F7B-55E5-41C1-8B56-E797699B9100}"/>
              </a:ext>
            </a:extLst>
          </p:cNvPr>
          <p:cNvSpPr/>
          <p:nvPr/>
        </p:nvSpPr>
        <p:spPr bwMode="gray">
          <a:xfrm>
            <a:off x="5186694" y="3825715"/>
            <a:ext cx="441255" cy="441255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4AD48AB2-97C1-4597-9D62-3CB64F7A5016}"/>
              </a:ext>
            </a:extLst>
          </p:cNvPr>
          <p:cNvSpPr/>
          <p:nvPr/>
        </p:nvSpPr>
        <p:spPr bwMode="gray">
          <a:xfrm>
            <a:off x="3290919" y="2446560"/>
            <a:ext cx="433897" cy="433897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32" name="Picture 131" descr="A picture containing red, cake, food, piece&#10;&#10;Description automatically generated">
            <a:extLst>
              <a:ext uri="{FF2B5EF4-FFF2-40B4-BE49-F238E27FC236}">
                <a16:creationId xmlns:a16="http://schemas.microsoft.com/office/drawing/2014/main" id="{85340F19-6B53-4931-BFA6-3909254F61D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579161" y="2596756"/>
            <a:ext cx="2248812" cy="2248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3065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50"/>
                            </p:stCondLst>
                            <p:childTnLst>
                              <p:par>
                                <p:cTn id="1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250"/>
                            </p:stCondLst>
                            <p:childTnLst>
                              <p:par>
                                <p:cTn id="2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2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2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000"/>
                            </p:stCondLst>
                            <p:childTnLst>
                              <p:par>
                                <p:cTn id="5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250"/>
                            </p:stCondLst>
                            <p:childTnLst>
                              <p:par>
                                <p:cTn id="5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2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2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750"/>
                            </p:stCondLst>
                            <p:childTnLst>
                              <p:par>
                                <p:cTn id="6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2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000"/>
                            </p:stCondLst>
                            <p:childTnLst>
                              <p:par>
                                <p:cTn id="6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2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2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2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2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4250"/>
                            </p:stCondLst>
                            <p:childTnLst>
                              <p:par>
                                <p:cTn id="7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25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25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4750"/>
                            </p:stCondLst>
                            <p:childTnLst>
                              <p:par>
                                <p:cTn id="8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2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2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0"/>
                            </p:stCondLst>
                            <p:childTnLst>
                              <p:par>
                                <p:cTn id="9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25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25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2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250"/>
                            </p:stCondLst>
                            <p:childTnLst>
                              <p:par>
                                <p:cTn id="10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2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2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2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2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5450"/>
                            </p:stCondLst>
                            <p:childTnLst>
                              <p:par>
                                <p:cTn id="1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2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2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5650"/>
                            </p:stCondLst>
                            <p:childTnLst>
                              <p:par>
                                <p:cTn id="1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2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2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2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2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2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2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2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2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2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2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5900"/>
                            </p:stCondLst>
                            <p:childTnLst>
                              <p:par>
                                <p:cTn id="13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2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2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6" dur="2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2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6150"/>
                            </p:stCondLst>
                            <p:childTnLst>
                              <p:par>
                                <p:cTn id="14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1" dur="25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25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1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1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3" dur="1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1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7" dur="1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>
                            <p:stCondLst>
                              <p:cond delay="6650"/>
                            </p:stCondLst>
                            <p:childTnLst>
                              <p:par>
                                <p:cTn id="17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2" dur="1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1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6" dur="15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15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8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2" fill="hold">
                            <p:stCondLst>
                              <p:cond delay="7150"/>
                            </p:stCondLst>
                            <p:childTnLst>
                              <p:par>
                                <p:cTn id="18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5" dur="1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1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7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9" dur="2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2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1" fill="hold">
                            <p:stCondLst>
                              <p:cond delay="7400"/>
                            </p:stCondLst>
                            <p:childTnLst>
                              <p:par>
                                <p:cTn id="19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4" dur="25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5" dur="25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6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8" dur="1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1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0" fill="hold">
                            <p:stCondLst>
                              <p:cond delay="7650"/>
                            </p:stCondLst>
                            <p:childTnLst>
                              <p:par>
                                <p:cTn id="20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3" dur="2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4" dur="2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96" grpId="0" animBg="1"/>
      <p:bldP spid="97" grpId="0" animBg="1"/>
      <p:bldP spid="98" grpId="0" animBg="1"/>
      <p:bldP spid="99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1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19C570-8E06-4944-B42A-F669B5A11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ling claims: COVID-19’s claims impac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2C33FC-53FA-4147-83D7-26A9EAA27B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Losses spread across many lines, but amount is uncertai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C03E12-CC1B-B941-B679-14370EBE4A4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Potential Loss Impac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3DF7E39-409F-4647-A3F6-0C3D51DC17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Industrywide Tol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7555D27-512F-4BC8-8E26-A4D13713A35C}"/>
              </a:ext>
            </a:extLst>
          </p:cNvPr>
          <p:cNvSpPr>
            <a:spLocks noGrp="1"/>
          </p:cNvSpPr>
          <p:nvPr>
            <p:ph sz="quarter" idx="34"/>
          </p:nvPr>
        </p:nvSpPr>
        <p:spPr/>
        <p:txBody>
          <a:bodyPr/>
          <a:lstStyle/>
          <a:p>
            <a:r>
              <a:rPr lang="en-US" dirty="0"/>
              <a:t>Lloyd’s estimate (May, worldwide) $107B</a:t>
            </a:r>
          </a:p>
          <a:p>
            <a:r>
              <a:rPr lang="en-US" dirty="0"/>
              <a:t>Reported (through September 12, worldwide): $22.4B</a:t>
            </a:r>
          </a:p>
          <a:p>
            <a:r>
              <a:rPr lang="en-US" dirty="0"/>
              <a:t>Triple-I estimate: equivalent in US to a significant hurricane ($10B - $50B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775109-1DD8-469A-B4AD-C849CDDF0E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Willis Towers Watson, </a:t>
            </a:r>
            <a:r>
              <a:rPr lang="en-US" dirty="0">
                <a:hlinkClick r:id="rId3"/>
              </a:rPr>
              <a:t>www.Lloyds.com</a:t>
            </a:r>
            <a:r>
              <a:rPr lang="en-US" dirty="0"/>
              <a:t>, Reinsurance News, Insurance Information Institute.</a:t>
            </a:r>
          </a:p>
        </p:txBody>
      </p:sp>
      <p:graphicFrame>
        <p:nvGraphicFramePr>
          <p:cNvPr id="27" name="Content Placeholder 7">
            <a:extLst>
              <a:ext uri="{FF2B5EF4-FFF2-40B4-BE49-F238E27FC236}">
                <a16:creationId xmlns:a16="http://schemas.microsoft.com/office/drawing/2014/main" id="{D552F577-5A8F-41A3-8970-6A35CEE96A71}"/>
              </a:ext>
            </a:extLst>
          </p:cNvPr>
          <p:cNvGraphicFramePr>
            <a:graphicFrameLocks/>
          </p:cNvGraphicFramePr>
          <p:nvPr/>
        </p:nvGraphicFramePr>
        <p:xfrm>
          <a:off x="322743" y="2524042"/>
          <a:ext cx="4260389" cy="2932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857A5276-B285-4633-918F-E193283239E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75246" y="3321282"/>
            <a:ext cx="1423226" cy="1038820"/>
          </a:xfrm>
          <a:prstGeom prst="rect">
            <a:avLst/>
          </a:prstGeom>
          <a:solidFill>
            <a:schemeClr val="bg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lIns="102870" tIns="102870" rIns="68580" bIns="10287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450"/>
              </a:spcBef>
            </a:pPr>
            <a:r>
              <a:rPr lang="en-US" altLang="en-US" sz="1200" dirty="0">
                <a:solidFill>
                  <a:srgbClr val="286EB8"/>
                </a:solidFill>
              </a:rPr>
              <a:t>Loss estimates range from $30B</a:t>
            </a:r>
            <a:br>
              <a:rPr lang="en-US" altLang="en-US" sz="1200" dirty="0">
                <a:solidFill>
                  <a:srgbClr val="286EB8"/>
                </a:solidFill>
              </a:rPr>
            </a:br>
            <a:r>
              <a:rPr lang="en-US" altLang="en-US" sz="1200" dirty="0">
                <a:solidFill>
                  <a:srgbClr val="286EB8"/>
                </a:solidFill>
              </a:rPr>
              <a:t>(</a:t>
            </a:r>
            <a:r>
              <a:rPr lang="en-US" altLang="en-US" sz="1200" dirty="0">
                <a:solidFill>
                  <a:srgbClr val="286EB8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≈ </a:t>
            </a:r>
            <a:r>
              <a:rPr lang="en-US" altLang="en-US" sz="1200" dirty="0">
                <a:solidFill>
                  <a:srgbClr val="286EB8"/>
                </a:solidFill>
              </a:rPr>
              <a:t>bad hurricane) to $140B (2-3 Katrinas)</a:t>
            </a:r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6CC5BEF8-0F4F-4803-A777-214E62CA47C9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3910383" y="3315554"/>
            <a:ext cx="188089" cy="128913"/>
          </a:xfrm>
          <a:prstGeom prst="rtTriangle">
            <a:avLst/>
          </a:prstGeom>
          <a:solidFill>
            <a:srgbClr val="286E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25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2908789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527998"/>
              </p:ext>
            </p:extLst>
          </p:nvPr>
        </p:nvGraphicFramePr>
        <p:xfrm>
          <a:off x="1" y="1701022"/>
          <a:ext cx="8814815" cy="4512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787438" y="258769"/>
            <a:ext cx="6659646" cy="950976"/>
          </a:xfrm>
        </p:spPr>
        <p:txBody>
          <a:bodyPr/>
          <a:lstStyle/>
          <a:p>
            <a:r>
              <a:rPr lang="en-US" dirty="0"/>
              <a:t>P/C Industry Net Income After Taxes</a:t>
            </a:r>
            <a:br>
              <a:rPr lang="en-US" dirty="0"/>
            </a:br>
            <a:r>
              <a:rPr lang="en-US" dirty="0"/>
              <a:t>2002-Presen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lnSpc>
                <a:spcPct val="85000"/>
              </a:lnSpc>
              <a:spcBef>
                <a:spcPts val="330"/>
              </a:spcBef>
            </a:pPr>
            <a:br>
              <a:rPr lang="en-US" sz="1100" dirty="0"/>
            </a:br>
            <a:r>
              <a:rPr lang="en-US" sz="1100" dirty="0"/>
              <a:t>Sources: NAIC data, sourced from S&amp;P Global Market Intelligence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96413" y="1812877"/>
            <a:ext cx="1274885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$ Billions</a:t>
            </a:r>
          </a:p>
        </p:txBody>
      </p:sp>
      <p:graphicFrame>
        <p:nvGraphicFramePr>
          <p:cNvPr id="6" name="Object 4">
            <a:extLst>
              <a:ext uri="{FF2B5EF4-FFF2-40B4-BE49-F238E27FC236}">
                <a16:creationId xmlns:a16="http://schemas.microsoft.com/office/drawing/2014/main" id="{FF634A7F-513C-444E-A225-6161D59335D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90737347"/>
              </p:ext>
            </p:extLst>
          </p:nvPr>
        </p:nvGraphicFramePr>
        <p:xfrm>
          <a:off x="5403071" y="710787"/>
          <a:ext cx="3244516" cy="1662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31865290"/>
      </p:ext>
    </p:extLst>
  </p:cSld>
  <p:clrMapOvr>
    <a:masterClrMapping/>
  </p:clrMapOvr>
  <p:transition spd="slow">
    <p:wip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F3374651-AA6E-4A41-A570-B58BC1D013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F3374651-AA6E-4A41-A570-B58BC1D013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E114ADD6-AE26-4FD2-90B2-B39123CA690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50" dirty="0">
              <a:latin typeface="Calibri Light" panose="020F0302020204030204" pitchFamily="34" charset="0"/>
              <a:ea typeface="+mj-ea"/>
              <a:cs typeface="Arial" panose="020B060402020202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D57FEC-73FF-4DA4-9F11-AA82074A7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better place: Six months into COVID-19, news coverage discusses federal policy solution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923EAC43-CF9E-4AA6-B3D0-DBB013D6D1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0552" y="2003144"/>
            <a:ext cx="8454009" cy="180517"/>
          </a:xfrm>
        </p:spPr>
        <p:txBody>
          <a:bodyPr/>
          <a:lstStyle/>
          <a:p>
            <a:r>
              <a:rPr lang="en-US" sz="900" b="1" dirty="0">
                <a:solidFill>
                  <a:schemeClr val="tx1"/>
                </a:solidFill>
              </a:rPr>
              <a:t>Number of Stories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BDFA0603-7EAA-483F-8CFF-F6114C7251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7952" y="5575555"/>
            <a:ext cx="7982678" cy="311264"/>
          </a:xfrm>
        </p:spPr>
        <p:txBody>
          <a:bodyPr/>
          <a:lstStyle/>
          <a:p>
            <a:r>
              <a:rPr lang="en-US" dirty="0"/>
              <a:t>Source: Meltwater.</a:t>
            </a:r>
          </a:p>
        </p:txBody>
      </p:sp>
      <p:sp>
        <p:nvSpPr>
          <p:cNvPr id="5" name="Title 17">
            <a:extLst>
              <a:ext uri="{FF2B5EF4-FFF2-40B4-BE49-F238E27FC236}">
                <a16:creationId xmlns:a16="http://schemas.microsoft.com/office/drawing/2014/main" id="{B59B3C1A-7E1D-4AA4-A99E-9BE0A550BC3F}"/>
              </a:ext>
            </a:extLst>
          </p:cNvPr>
          <p:cNvSpPr txBox="1">
            <a:spLocks/>
          </p:cNvSpPr>
          <p:nvPr/>
        </p:nvSpPr>
        <p:spPr>
          <a:xfrm>
            <a:off x="201168" y="1289911"/>
            <a:ext cx="8741664" cy="596039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300" dirty="0">
              <a:latin typeface="+mn-lt"/>
            </a:endParaRPr>
          </a:p>
        </p:txBody>
      </p:sp>
      <p:graphicFrame>
        <p:nvGraphicFramePr>
          <p:cNvPr id="41" name="Content Placeholder 2">
            <a:extLst>
              <a:ext uri="{FF2B5EF4-FFF2-40B4-BE49-F238E27FC236}">
                <a16:creationId xmlns:a16="http://schemas.microsoft.com/office/drawing/2014/main" id="{6B20EFE1-499E-48DE-A226-E9B2F961F098}"/>
              </a:ext>
            </a:extLst>
          </p:cNvPr>
          <p:cNvGraphicFramePr>
            <a:graphicFrameLocks/>
          </p:cNvGraphicFramePr>
          <p:nvPr/>
        </p:nvGraphicFramePr>
        <p:xfrm>
          <a:off x="356616" y="2160270"/>
          <a:ext cx="8450199" cy="3086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69496579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BDB4F3-17B0-4F3E-B1E2-35D8C43518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BDB4F3-17B0-4F3E-B1E2-35D8C43518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C16E330-3FED-4A99-B016-0C0B9CC07D7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85800">
              <a:defRPr/>
            </a:pPr>
            <a:endParaRPr lang="en-US" sz="30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B96323-66A9-4E01-A0E3-2727F40834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better place: FAIR guiding principles:</a:t>
            </a:r>
            <a:br>
              <a:rPr lang="en-US" dirty="0"/>
            </a:br>
            <a:r>
              <a:rPr lang="en-US" dirty="0"/>
              <a:t>A defined perspective on potential policy solution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CF8ED14-6F08-44A1-9277-08358B6E53D1}"/>
              </a:ext>
            </a:extLst>
          </p:cNvPr>
          <p:cNvSpPr txBox="1">
            <a:spLocks/>
          </p:cNvSpPr>
          <p:nvPr/>
        </p:nvSpPr>
        <p:spPr>
          <a:xfrm>
            <a:off x="201168" y="1289911"/>
            <a:ext cx="8741664" cy="59603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>
              <a:defRPr/>
            </a:pPr>
            <a:endParaRPr lang="en-US" sz="3300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90C16E19-ADB5-4158-A427-0933995A626E}"/>
              </a:ext>
            </a:extLst>
          </p:cNvPr>
          <p:cNvSpPr txBox="1">
            <a:spLocks/>
          </p:cNvSpPr>
          <p:nvPr/>
        </p:nvSpPr>
        <p:spPr bwMode="gray">
          <a:xfrm>
            <a:off x="352426" y="1954530"/>
            <a:ext cx="8467724" cy="7543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68580" tIns="34290" rIns="68580" bIns="68580" rtlCol="0" anchor="ctr" anchorCtr="0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0"/>
              </a:spcBef>
              <a:buClr>
                <a:srgbClr val="337DBE"/>
              </a:buClr>
              <a:buSzPct val="77000"/>
              <a:buFontTx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500" dirty="0">
                <a:sym typeface="Palatino" charset="0"/>
              </a:rPr>
              <a:t>Given their universal scope, pandemics are largely uninsurable. Therefore, only the government has the financial capacity to provide the relief small and large businesses need to weather this crisis.</a:t>
            </a:r>
          </a:p>
        </p:txBody>
      </p:sp>
      <p:sp>
        <p:nvSpPr>
          <p:cNvPr id="28" name="Content Placeholder 18">
            <a:extLst>
              <a:ext uri="{FF2B5EF4-FFF2-40B4-BE49-F238E27FC236}">
                <a16:creationId xmlns:a16="http://schemas.microsoft.com/office/drawing/2014/main" id="{17181090-E700-49E8-9C61-1B9C3777A7DF}"/>
              </a:ext>
            </a:extLst>
          </p:cNvPr>
          <p:cNvSpPr txBox="1">
            <a:spLocks/>
          </p:cNvSpPr>
          <p:nvPr/>
        </p:nvSpPr>
        <p:spPr bwMode="gray">
          <a:xfrm>
            <a:off x="352430" y="2846070"/>
            <a:ext cx="8467725" cy="2147511"/>
          </a:xfrm>
          <a:prstGeom prst="rect">
            <a:avLst/>
          </a:prstGeom>
        </p:spPr>
        <p:txBody>
          <a:bodyPr vert="horz" lIns="68580" tIns="34290" rIns="68580" bIns="34290" rtlCol="0">
            <a:spAutoFit/>
          </a:bodyPr>
          <a:lstStyle>
            <a:lvl1pPr marL="292601" indent="-292601" algn="l" defTabSz="914377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350" b="1" dirty="0">
                <a:sym typeface="Palatino" charset="0"/>
              </a:rPr>
              <a:t>Proposed solutions must:</a:t>
            </a:r>
          </a:p>
          <a:p>
            <a:r>
              <a:rPr lang="en-US" sz="1350" dirty="0"/>
              <a:t>Maintain the federal government as a primary provider of relief, reflecting the reality that pandemic risks are not privately insurable.</a:t>
            </a:r>
          </a:p>
          <a:p>
            <a:r>
              <a:rPr lang="en-US" sz="1350" dirty="0"/>
              <a:t>Provide widely accessible relief payments to businesses in a fast and efficient manner once a pandemic is declared by the government, with minimal chance of abuse. </a:t>
            </a:r>
          </a:p>
          <a:p>
            <a:r>
              <a:rPr lang="en-US" sz="1350" dirty="0"/>
              <a:t>Protect businesses from losses, and incentivize businesses to retain employees, without jeopardizing insurers' existing commitments. </a:t>
            </a:r>
          </a:p>
        </p:txBody>
      </p:sp>
    </p:spTree>
    <p:extLst>
      <p:ext uri="{BB962C8B-B14F-4D97-AF65-F5344CB8AC3E}">
        <p14:creationId xmlns:p14="http://schemas.microsoft.com/office/powerpoint/2010/main" val="2735462152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01764E32-A845-4FD4-AADF-E4F96B8A60EE}"/>
              </a:ext>
            </a:extLst>
          </p:cNvPr>
          <p:cNvSpPr/>
          <p:nvPr/>
        </p:nvSpPr>
        <p:spPr>
          <a:xfrm>
            <a:off x="363493" y="3391804"/>
            <a:ext cx="1985754" cy="1685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defRPr/>
            </a:pPr>
            <a:endParaRPr lang="en-US" sz="15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95F7843-EAD7-4D8A-B7AA-618B7EDED609}"/>
              </a:ext>
            </a:extLst>
          </p:cNvPr>
          <p:cNvSpPr/>
          <p:nvPr/>
        </p:nvSpPr>
        <p:spPr>
          <a:xfrm>
            <a:off x="2448740" y="3391804"/>
            <a:ext cx="1985754" cy="1685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defRPr/>
            </a:pPr>
            <a:endParaRPr lang="en-US" sz="15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B717E83-A542-4FE2-8C1B-732394373D4F}"/>
              </a:ext>
            </a:extLst>
          </p:cNvPr>
          <p:cNvSpPr/>
          <p:nvPr/>
        </p:nvSpPr>
        <p:spPr>
          <a:xfrm>
            <a:off x="4533986" y="3391804"/>
            <a:ext cx="1985754" cy="1685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defRPr/>
            </a:pPr>
            <a:endParaRPr lang="en-US" sz="15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5CDB1FE-2FD4-4B45-8ACD-50E14560CEC5}"/>
              </a:ext>
            </a:extLst>
          </p:cNvPr>
          <p:cNvSpPr/>
          <p:nvPr/>
        </p:nvSpPr>
        <p:spPr>
          <a:xfrm>
            <a:off x="6619234" y="3391804"/>
            <a:ext cx="1985754" cy="1685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defRPr/>
            </a:pPr>
            <a:endParaRPr lang="en-US" sz="15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2DA9BEC-6657-481E-BF50-FD6168724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Stepping Up</a:t>
            </a:r>
            <a:br>
              <a:rPr lang="en-US" dirty="0"/>
            </a:b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CD7D4C2-BA4B-4D0C-8AA8-4162D626BD4D}"/>
              </a:ext>
            </a:extLst>
          </p:cNvPr>
          <p:cNvSpPr txBox="1">
            <a:spLocks/>
          </p:cNvSpPr>
          <p:nvPr/>
        </p:nvSpPr>
        <p:spPr bwMode="gray">
          <a:xfrm>
            <a:off x="356617" y="3031759"/>
            <a:ext cx="1992630" cy="360045"/>
          </a:xfrm>
          <a:prstGeom prst="snip1Rect">
            <a:avLst>
              <a:gd name="adj" fmla="val 29185"/>
            </a:avLst>
          </a:prstGeom>
          <a:solidFill>
            <a:schemeClr val="accent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37160" tIns="68580" rIns="137160" bIns="13716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85800">
              <a:spcBef>
                <a:spcPts val="0"/>
              </a:spcBef>
              <a:buClr>
                <a:srgbClr val="ED7D31"/>
              </a:buClr>
              <a:defRPr/>
            </a:pPr>
            <a:r>
              <a:rPr lang="en-US" sz="13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9895E543-712E-41CA-920A-A2B6CC8174F8}"/>
              </a:ext>
            </a:extLst>
          </p:cNvPr>
          <p:cNvSpPr txBox="1">
            <a:spLocks/>
          </p:cNvSpPr>
          <p:nvPr/>
        </p:nvSpPr>
        <p:spPr bwMode="gray">
          <a:xfrm>
            <a:off x="2441864" y="3031759"/>
            <a:ext cx="1992630" cy="360045"/>
          </a:xfrm>
          <a:prstGeom prst="snip1Rect">
            <a:avLst>
              <a:gd name="adj" fmla="val 29185"/>
            </a:avLst>
          </a:prstGeom>
          <a:solidFill>
            <a:schemeClr val="accent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37160" tIns="68580" rIns="137160" bIns="13716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85800">
              <a:spcBef>
                <a:spcPts val="0"/>
              </a:spcBef>
              <a:buClr>
                <a:srgbClr val="ED7D31"/>
              </a:buClr>
              <a:defRPr/>
            </a:pPr>
            <a:r>
              <a:rPr lang="en-US" sz="13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821280E-87DC-4E9D-9044-0C504FB5DED8}"/>
              </a:ext>
            </a:extLst>
          </p:cNvPr>
          <p:cNvSpPr txBox="1">
            <a:spLocks/>
          </p:cNvSpPr>
          <p:nvPr/>
        </p:nvSpPr>
        <p:spPr bwMode="gray">
          <a:xfrm>
            <a:off x="4527110" y="3031759"/>
            <a:ext cx="1992630" cy="360045"/>
          </a:xfrm>
          <a:prstGeom prst="snip1Rect">
            <a:avLst>
              <a:gd name="adj" fmla="val 29185"/>
            </a:avLst>
          </a:prstGeom>
          <a:solidFill>
            <a:schemeClr val="accent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37160" tIns="68580" rIns="137160" bIns="13716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85800">
              <a:spcBef>
                <a:spcPts val="0"/>
              </a:spcBef>
              <a:buClr>
                <a:srgbClr val="ED7D31"/>
              </a:buClr>
              <a:defRPr/>
            </a:pPr>
            <a:r>
              <a:rPr lang="en-US" sz="13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340A27E-BD00-4680-B6B0-F001C4EB3A7E}"/>
              </a:ext>
            </a:extLst>
          </p:cNvPr>
          <p:cNvSpPr txBox="1">
            <a:spLocks/>
          </p:cNvSpPr>
          <p:nvPr/>
        </p:nvSpPr>
        <p:spPr bwMode="gray">
          <a:xfrm>
            <a:off x="6612358" y="3031759"/>
            <a:ext cx="1992630" cy="360045"/>
          </a:xfrm>
          <a:prstGeom prst="snip1Rect">
            <a:avLst>
              <a:gd name="adj" fmla="val 29185"/>
            </a:avLst>
          </a:prstGeom>
          <a:solidFill>
            <a:schemeClr val="accent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37160" tIns="68580" rIns="137160" bIns="13716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85800">
              <a:spcBef>
                <a:spcPts val="0"/>
              </a:spcBef>
              <a:buClr>
                <a:srgbClr val="ED7D31"/>
              </a:buClr>
              <a:defRPr/>
            </a:pPr>
            <a:r>
              <a:rPr lang="en-US" sz="13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FDFDC55-09E4-4752-8813-AAC8BF64760A}"/>
              </a:ext>
            </a:extLst>
          </p:cNvPr>
          <p:cNvSpPr txBox="1"/>
          <p:nvPr/>
        </p:nvSpPr>
        <p:spPr>
          <a:xfrm>
            <a:off x="455175" y="3410482"/>
            <a:ext cx="1807965" cy="10895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675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 insurers have returned </a:t>
            </a:r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4 billion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 far to customers' pockets around the country through premium relief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6572B98-93CF-4BB8-9996-C2598D2BDF4E}"/>
              </a:ext>
            </a:extLst>
          </p:cNvPr>
          <p:cNvSpPr txBox="1"/>
          <p:nvPr/>
        </p:nvSpPr>
        <p:spPr>
          <a:xfrm>
            <a:off x="2445952" y="3410483"/>
            <a:ext cx="1985754" cy="15881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675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urers have pledged </a:t>
            </a:r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than an estimated $280 million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ccording to III/Insurance Industry Charitable Foundation) in donations to the national and local organizations fighting this pandemic on the frontlin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73CE3AC-5874-469A-8E7F-406CF5F81468}"/>
              </a:ext>
            </a:extLst>
          </p:cNvPr>
          <p:cNvSpPr txBox="1"/>
          <p:nvPr/>
        </p:nvSpPr>
        <p:spPr>
          <a:xfrm>
            <a:off x="4605770" y="3410482"/>
            <a:ext cx="1815033" cy="12557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675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ing more than </a:t>
            </a:r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8 million Americans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nsurers are taking care of their employees–many pledging no layoffs during the ongoing crisi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6D6BBC0-707D-4050-BF3F-A0547CB89F9E}"/>
              </a:ext>
            </a:extLst>
          </p:cNvPr>
          <p:cNvSpPr txBox="1"/>
          <p:nvPr/>
        </p:nvSpPr>
        <p:spPr>
          <a:xfrm>
            <a:off x="6738918" y="3410482"/>
            <a:ext cx="1773575" cy="12557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675"/>
              </a:spcBef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surers are implementing </a:t>
            </a:r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 solutions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o carrying out daily operations while respecting social distancing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65C951E-D982-47D3-8936-0676F8F6A3C3}"/>
              </a:ext>
            </a:extLst>
          </p:cNvPr>
          <p:cNvSpPr/>
          <p:nvPr/>
        </p:nvSpPr>
        <p:spPr>
          <a:xfrm>
            <a:off x="356616" y="1071150"/>
            <a:ext cx="3318613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1650" b="1" dirty="0">
                <a:solidFill>
                  <a:srgbClr val="43B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rica's Insurers: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296678C-D15D-40E7-8AD8-8CE7715BF756}"/>
              </a:ext>
            </a:extLst>
          </p:cNvPr>
          <p:cNvSpPr/>
          <p:nvPr/>
        </p:nvSpPr>
        <p:spPr>
          <a:xfrm>
            <a:off x="356616" y="1648593"/>
            <a:ext cx="6005180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1650" dirty="0">
                <a:solidFill>
                  <a:srgbClr val="43B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Customers, Communities, and Employees 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DAFAB493-B886-4927-B8D7-478CB3EE5F2D}"/>
              </a:ext>
            </a:extLst>
          </p:cNvPr>
          <p:cNvSpPr txBox="1">
            <a:spLocks/>
          </p:cNvSpPr>
          <p:nvPr/>
        </p:nvSpPr>
        <p:spPr bwMode="gray">
          <a:xfrm>
            <a:off x="355513" y="2177272"/>
            <a:ext cx="8382656" cy="652608"/>
          </a:xfrm>
          <a:prstGeom prst="snip1Rect">
            <a:avLst>
              <a:gd name="adj" fmla="val 29185"/>
            </a:avLst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37160" tIns="68580" rIns="137160" bIns="13716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defTabSz="685800">
              <a:spcBef>
                <a:spcPts val="0"/>
              </a:spcBef>
              <a:buClr>
                <a:srgbClr val="F69322"/>
              </a:buClr>
              <a:defRPr/>
            </a:pPr>
            <a:r>
              <a:rPr lang="en-US" sz="165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nsurance industry is applying forward-thinking solutions to take care of </a:t>
            </a:r>
            <a:br>
              <a:rPr lang="en-US" sz="165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5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s customers, communities, and employees during the COVID-19 crisis</a:t>
            </a:r>
          </a:p>
        </p:txBody>
      </p:sp>
    </p:spTree>
    <p:extLst>
      <p:ext uri="{BB962C8B-B14F-4D97-AF65-F5344CB8AC3E}">
        <p14:creationId xmlns:p14="http://schemas.microsoft.com/office/powerpoint/2010/main" val="17847151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for your time</a:t>
            </a:r>
            <a:br>
              <a:rPr lang="en-US" dirty="0"/>
            </a:br>
            <a:r>
              <a:rPr lang="en-US" dirty="0"/>
              <a:t>and your attention!</a:t>
            </a: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8268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E65983A2-307F-7145-80C3-D5C159C39D5E}"/>
              </a:ext>
            </a:extLst>
          </p:cNvPr>
          <p:cNvSpPr/>
          <p:nvPr/>
        </p:nvSpPr>
        <p:spPr>
          <a:xfrm>
            <a:off x="4637524" y="1930716"/>
            <a:ext cx="4037358" cy="165963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A7F555C-A85C-7440-B6B0-700F0A08F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226695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dustry Outlook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0000000-0008-0000-0600-00001A000000}"/>
              </a:ext>
            </a:extLst>
          </p:cNvPr>
          <p:cNvGraphicFramePr>
            <a:graphicFrameLocks noGrp="1"/>
          </p:cNvGraphicFramePr>
          <p:nvPr>
            <p:ph type="chart" sz="quarter" idx="10"/>
            <p:extLst>
              <p:ext uri="{D42A27DB-BD31-4B8C-83A1-F6EECF244321}">
                <p14:modId xmlns:p14="http://schemas.microsoft.com/office/powerpoint/2010/main" val="1021547711"/>
              </p:ext>
            </p:extLst>
          </p:nvPr>
        </p:nvGraphicFramePr>
        <p:xfrm>
          <a:off x="4729751" y="1874089"/>
          <a:ext cx="3997607" cy="1693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128462E-C01A-B14E-A9E2-AE16D67F12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mercial Lines Rate Chang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2E6E36F-DA52-E349-AF32-81A94B994E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316" y="3787031"/>
            <a:ext cx="3918196" cy="137160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Growth in Nominal GDP (Real GDP + Inflation)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AEB51D7-E563-CD4F-888B-0B888EB221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alendar Year Written Premium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Net Combined Ratio Projection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8AFEDD3-E210-2145-B4BD-375365DBE7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4126" y="6293757"/>
            <a:ext cx="7823232" cy="415019"/>
          </a:xfrm>
        </p:spPr>
        <p:txBody>
          <a:bodyPr/>
          <a:lstStyle/>
          <a:p>
            <a:r>
              <a:rPr lang="en-US" sz="1000" dirty="0">
                <a:latin typeface="Arial" panose="020B0604020202020204" pitchFamily="34" charset="0"/>
              </a:rPr>
              <a:t>Data sources: NAIC data sourced through S&amp;P Global Market Intelligence, MarketScout, Blue Chip Economic Indicators, Congressional Budget Office, PCS, Aon, Munich Re, Energy Information Agency, FRED (Federal Reserve Bank of St. Louis).</a:t>
            </a:r>
          </a:p>
          <a:p>
            <a:r>
              <a:rPr lang="en-US" sz="1000" dirty="0">
                <a:latin typeface="Arial" panose="020B0604020202020204" pitchFamily="34" charset="0"/>
              </a:rPr>
              <a:t>Analysis: Insurance Information Institute, Milliman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1A66728-1558-5143-9DAA-AECDC06870AC}"/>
              </a:ext>
            </a:extLst>
          </p:cNvPr>
          <p:cNvCxnSpPr>
            <a:cxnSpLocks/>
          </p:cNvCxnSpPr>
          <p:nvPr/>
        </p:nvCxnSpPr>
        <p:spPr>
          <a:xfrm>
            <a:off x="4620961" y="4049357"/>
            <a:ext cx="40539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Content Placeholder 8">
            <a:extLst>
              <a:ext uri="{FF2B5EF4-FFF2-40B4-BE49-F238E27FC236}">
                <a16:creationId xmlns:a16="http://schemas.microsoft.com/office/drawing/2014/main" id="{DDBB1D97-E1A8-A246-A136-3D662D4FD6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0088716"/>
              </p:ext>
            </p:extLst>
          </p:nvPr>
        </p:nvGraphicFramePr>
        <p:xfrm>
          <a:off x="429842" y="1800608"/>
          <a:ext cx="3967872" cy="16938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2" name="Content Placeholder 8">
            <a:extLst>
              <a:ext uri="{FF2B5EF4-FFF2-40B4-BE49-F238E27FC236}">
                <a16:creationId xmlns:a16="http://schemas.microsoft.com/office/drawing/2014/main" id="{08366A32-019A-094F-8EA2-18A633722E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0992645"/>
              </p:ext>
            </p:extLst>
          </p:nvPr>
        </p:nvGraphicFramePr>
        <p:xfrm>
          <a:off x="462792" y="3979040"/>
          <a:ext cx="3918195" cy="1986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8AF1E806-C83E-D64A-937E-27B4F5CFF984}"/>
              </a:ext>
            </a:extLst>
          </p:cNvPr>
          <p:cNvSpPr txBox="1">
            <a:spLocks/>
          </p:cNvSpPr>
          <p:nvPr/>
        </p:nvSpPr>
        <p:spPr bwMode="gray">
          <a:xfrm>
            <a:off x="4644945" y="4049357"/>
            <a:ext cx="3989510" cy="1612034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337DBE"/>
              </a:buClr>
              <a:buSzPct val="77000"/>
              <a:buFontTx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8125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66725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itchFamily="34" charset="0"/>
              <a:buChar char="–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3738" indent="-217488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4625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itchFamily="34" charset="0"/>
              <a:buChar char="»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2020 Commentary</a:t>
            </a:r>
          </a:p>
          <a:p>
            <a:pPr>
              <a:lnSpc>
                <a:spcPct val="100000"/>
              </a:lnSpc>
              <a:spcAft>
                <a:spcPts val="450"/>
              </a:spcAft>
            </a:pPr>
            <a:endParaRPr lang="en-US" sz="900" b="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Aft>
                <a:spcPts val="450"/>
              </a:spcAft>
            </a:pPr>
            <a:r>
              <a:rPr lang="en-US" sz="10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light rise in premium. Underwriting result deteriorates.</a:t>
            </a:r>
          </a:p>
          <a:p>
            <a:pPr marL="128588" indent="-128588">
              <a:lnSpc>
                <a:spcPct val="100000"/>
              </a:lnSpc>
              <a:spcAft>
                <a:spcPts val="450"/>
              </a:spcAft>
              <a:buClr>
                <a:schemeClr val="bg2"/>
              </a:buClr>
              <a:buSzPct val="85000"/>
              <a:buFont typeface="Arial" panose="020B0604020202020204" pitchFamily="34" charset="0"/>
              <a:buChar char="•"/>
            </a:pPr>
            <a:r>
              <a:rPr lang="en-US" sz="10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ndemic and recession reduce exposure in personal auto, several commercial lines.</a:t>
            </a:r>
          </a:p>
          <a:p>
            <a:pPr marL="137160" indent="-137160">
              <a:lnSpc>
                <a:spcPct val="100000"/>
              </a:lnSpc>
              <a:spcAft>
                <a:spcPts val="450"/>
              </a:spcAft>
              <a:buClr>
                <a:schemeClr val="bg2"/>
              </a:buClr>
              <a:buSzPct val="85000"/>
              <a:buFont typeface="Arial" panose="020B0604020202020204" pitchFamily="34" charset="0"/>
              <a:buChar char="•"/>
            </a:pPr>
            <a:r>
              <a:rPr lang="en-US" sz="10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ate increases make up for lower exposures somewhat.</a:t>
            </a:r>
          </a:p>
          <a:p>
            <a:pPr marL="137160" indent="-137160">
              <a:lnSpc>
                <a:spcPct val="100000"/>
              </a:lnSpc>
              <a:spcAft>
                <a:spcPts val="450"/>
              </a:spcAft>
              <a:buClr>
                <a:schemeClr val="bg2"/>
              </a:buClr>
              <a:buSzPct val="85000"/>
              <a:buFont typeface="Arial" panose="020B0604020202020204" pitchFamily="34" charset="0"/>
              <a:buChar char="•"/>
            </a:pPr>
            <a:r>
              <a:rPr lang="en-US" sz="10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emendous uncertainty due to pandemic’s impact on several lines.</a:t>
            </a:r>
          </a:p>
          <a:p>
            <a:pPr marL="137160" indent="-137160">
              <a:lnSpc>
                <a:spcPct val="100000"/>
              </a:lnSpc>
              <a:spcAft>
                <a:spcPts val="450"/>
              </a:spcAft>
              <a:buClr>
                <a:schemeClr val="bg2"/>
              </a:buClr>
              <a:buSzPct val="85000"/>
              <a:buFont typeface="Arial" panose="020B0604020202020204" pitchFamily="34" charset="0"/>
              <a:buChar char="•"/>
            </a:pPr>
            <a:r>
              <a:rPr lang="en-US" sz="10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bove-average cat year.</a:t>
            </a:r>
            <a:endParaRPr lang="en-US" sz="1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50342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6039F-6C93-4E70-A316-1C96D5F918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Personal Lines Pi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4D3CB7-8CEB-4F42-B33D-25B8EA3E71F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00377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651888" y="233058"/>
            <a:ext cx="7811628" cy="950976"/>
          </a:xfrm>
        </p:spPr>
        <p:txBody>
          <a:bodyPr/>
          <a:lstStyle/>
          <a:p>
            <a:r>
              <a:rPr lang="en-US" altLang="en-US" dirty="0"/>
              <a:t>Direct Written Premium Growth By Year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Through Q2. Personal auto liability only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Sources:  NAIC data, sourced from S&amp;P Global Market Intelligence.</a:t>
            </a:r>
          </a:p>
        </p:txBody>
      </p:sp>
      <p:graphicFrame>
        <p:nvGraphicFramePr>
          <p:cNvPr id="2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08336864"/>
              </p:ext>
            </p:extLst>
          </p:nvPr>
        </p:nvGraphicFramePr>
        <p:xfrm>
          <a:off x="314486" y="1442961"/>
          <a:ext cx="8468432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PPTShape_1"/>
          <p:cNvSpPr>
            <a:spLocks noChangeArrowheads="1"/>
          </p:cNvSpPr>
          <p:nvPr/>
        </p:nvSpPr>
        <p:spPr bwMode="gray">
          <a:xfrm>
            <a:off x="651888" y="5733785"/>
            <a:ext cx="8162928" cy="560996"/>
          </a:xfrm>
          <a:prstGeom prst="rect">
            <a:avLst/>
          </a:pr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tIns="45720" bIns="45720" anchor="ctr"/>
          <a:lstStyle/>
          <a:p>
            <a:pPr algn="ctr"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HO growth more stable than auto, which grew in response to rising costs till recently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9526934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Personal Lines Results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: NAIC data, </a:t>
            </a:r>
            <a:r>
              <a:rPr lang="fr-FR" dirty="0" err="1"/>
              <a:t>sourc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S&amp;P Global </a:t>
            </a:r>
            <a:r>
              <a:rPr lang="fr-FR" dirty="0" err="1"/>
              <a:t>Market</a:t>
            </a:r>
            <a:r>
              <a:rPr lang="fr-FR" dirty="0"/>
              <a:t> Intelligence.</a:t>
            </a:r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416657" y="5579679"/>
            <a:ext cx="8303481" cy="72237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Personal auto has returned to underwriting profitability. Homeowners results depend on catastrophe season.</a:t>
            </a:r>
          </a:p>
        </p:txBody>
      </p:sp>
      <p:graphicFrame>
        <p:nvGraphicFramePr>
          <p:cNvPr id="14" name="Content Placehold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0670368"/>
              </p:ext>
            </p:extLst>
          </p:nvPr>
        </p:nvGraphicFramePr>
        <p:xfrm>
          <a:off x="423862" y="1277938"/>
          <a:ext cx="8296275" cy="414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ontent Placeholder 8">
            <a:extLst>
              <a:ext uri="{FF2B5EF4-FFF2-40B4-BE49-F238E27FC236}">
                <a16:creationId xmlns:a16="http://schemas.microsoft.com/office/drawing/2014/main" id="{A9B400B0-B79B-4F92-94C1-DB94082F56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4780589"/>
              </p:ext>
            </p:extLst>
          </p:nvPr>
        </p:nvGraphicFramePr>
        <p:xfrm>
          <a:off x="5619964" y="308225"/>
          <a:ext cx="3324491" cy="19007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5542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642393" y="352329"/>
            <a:ext cx="7483034" cy="497726"/>
          </a:xfrm>
        </p:spPr>
        <p:txBody>
          <a:bodyPr/>
          <a:lstStyle/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HO Trend: Catastrophe Loss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908679" y="6096318"/>
            <a:ext cx="5760720" cy="610362"/>
          </a:xfrm>
        </p:spPr>
        <p:txBody>
          <a:bodyPr/>
          <a:lstStyle/>
          <a:p>
            <a:endParaRPr lang="en-US" sz="825" dirty="0"/>
          </a:p>
          <a:p>
            <a:endParaRPr lang="en-US" sz="825" dirty="0"/>
          </a:p>
          <a:p>
            <a:endParaRPr lang="en-US" sz="825" dirty="0"/>
          </a:p>
          <a:p>
            <a:endParaRPr lang="en-US" sz="825" dirty="0"/>
          </a:p>
          <a:p>
            <a:endParaRPr lang="en-US" sz="825" dirty="0"/>
          </a:p>
          <a:p>
            <a:r>
              <a:rPr lang="en-US" sz="825" dirty="0"/>
              <a:t>*Aon estimate through June. 2010s is average of 2010 to 2019. All losses are Direct.</a:t>
            </a:r>
          </a:p>
          <a:p>
            <a:r>
              <a:rPr lang="en-US" sz="825" dirty="0"/>
              <a:t>Sources: Property Claims Service, a Verisk Analytics business; Aon; Insurance Information Institute</a:t>
            </a:r>
            <a:r>
              <a:rPr lang="en-US" sz="675" dirty="0"/>
              <a:t>.</a:t>
            </a:r>
          </a:p>
          <a:p>
            <a:endParaRPr lang="en-US" sz="675" dirty="0"/>
          </a:p>
        </p:txBody>
      </p:sp>
      <p:graphicFrame>
        <p:nvGraphicFramePr>
          <p:cNvPr id="22" name="Chart 21"/>
          <p:cNvGraphicFramePr/>
          <p:nvPr/>
        </p:nvGraphicFramePr>
        <p:xfrm>
          <a:off x="908679" y="1258054"/>
          <a:ext cx="7181099" cy="3904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 Placeholder 4"/>
          <p:cNvSpPr txBox="1">
            <a:spLocks/>
          </p:cNvSpPr>
          <p:nvPr/>
        </p:nvSpPr>
        <p:spPr bwMode="gray">
          <a:xfrm>
            <a:off x="908679" y="5291150"/>
            <a:ext cx="7216748" cy="90934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72" tIns="34286" rIns="68572" bIns="685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800" dirty="0">
                <a:latin typeface="Arial" panose="020B0604020202020204" pitchFamily="34" charset="0"/>
              </a:rPr>
              <a:t>2019 was a relatively mild year; 2020 hit by multiple hurricanes, widespread wildfires – mostly in second half</a:t>
            </a:r>
          </a:p>
        </p:txBody>
      </p:sp>
      <p:grpSp>
        <p:nvGrpSpPr>
          <p:cNvPr id="7" name="Group 6"/>
          <p:cNvGrpSpPr/>
          <p:nvPr/>
        </p:nvGrpSpPr>
        <p:grpSpPr bwMode="gray">
          <a:xfrm>
            <a:off x="6761070" y="840809"/>
            <a:ext cx="1879361" cy="385678"/>
            <a:chOff x="3279159" y="894181"/>
            <a:chExt cx="1359220" cy="794827"/>
          </a:xfrm>
        </p:grpSpPr>
        <p:sp>
          <p:nvSpPr>
            <p:cNvPr id="8" name="AutoShape 4"/>
            <p:cNvSpPr>
              <a:spLocks noChangeArrowheads="1"/>
            </p:cNvSpPr>
            <p:nvPr/>
          </p:nvSpPr>
          <p:spPr bwMode="gray">
            <a:xfrm>
              <a:off x="3279159" y="894181"/>
              <a:ext cx="1359220" cy="59436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68564" tIns="34282" rIns="68564" bIns="34282" anchor="ctr">
              <a:flatTx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ts val="225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tabLst>
                  <a:tab pos="1202531" algn="ctr"/>
                  <a:tab pos="1970485" algn="ctr"/>
                </a:tabLst>
              </a:pPr>
              <a:r>
                <a:rPr lang="en-US" sz="1400" b="1" dirty="0">
                  <a:solidFill>
                    <a:schemeClr val="accent1"/>
                  </a:solidFill>
                  <a:latin typeface="+mj-lt"/>
                </a:rPr>
                <a:t>Harvey, Irma, Maria</a:t>
              </a:r>
            </a:p>
          </p:txBody>
        </p:sp>
        <p:cxnSp>
          <p:nvCxnSpPr>
            <p:cNvPr id="9" name="Straight Arrow Connector 8"/>
            <p:cNvCxnSpPr>
              <a:cxnSpLocks/>
            </p:cNvCxnSpPr>
            <p:nvPr/>
          </p:nvCxnSpPr>
          <p:spPr bwMode="gray">
            <a:xfrm>
              <a:off x="3697192" y="1488092"/>
              <a:ext cx="0" cy="200916"/>
            </a:xfrm>
            <a:prstGeom prst="straightConnector1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 type="oval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7522915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21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ZrRQHefE4XyE41zNX0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9m3ENhMTKMLmpF0PCW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k6QzadRfB5Xo10rFJj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rRorjsDAcUI7tpqA5T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PZHuOur4.bdoH3u1iN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/C Insurance Industry Combined Ratio"/>
  <p:tag name="ARTICULATE_SLIDE_GUID" val="d597db85-55e1-4188-b89d-d656c2dd132a"/>
  <p:tag name="ARTICULATE_SLIDE_NAV" val="52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/C Net Income After Taxes"/>
  <p:tag name="ARTICULATE_SLIDE_GUID" val="b36d2394-cab0-4993-8a78-0afe809536e5"/>
  <p:tag name="ARTICULATE_SLIDE_NAV" val="43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GUID" val="8d816a7d-974e-4f1a-9550-52aea7948b6c"/>
  <p:tag name="ARTICULATE_SLIDE_NAV" val="48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cYoWxWemnevL6xcH82ag"/>
</p:tagLst>
</file>

<file path=ppt/theme/theme1.xml><?xml version="1.0" encoding="utf-8"?>
<a:theme xmlns:a="http://schemas.openxmlformats.org/drawingml/2006/main" name="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 anchor="ctr" anchorCtr="0">
        <a:spAutoFit/>
      </a:bodyPr>
      <a:lstStyle>
        <a:defPPr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defRPr sz="1400" b="1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21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20">
      <a:dk1>
        <a:sysClr val="windowText" lastClr="000000"/>
      </a:dk1>
      <a:lt1>
        <a:sysClr val="window" lastClr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89</TotalTime>
  <Words>2519</Words>
  <Application>Microsoft Office PowerPoint</Application>
  <PresentationFormat>On-screen Show (4:3)</PresentationFormat>
  <Paragraphs>526</Paragraphs>
  <Slides>43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3" baseType="lpstr">
      <vt:lpstr>Arial</vt:lpstr>
      <vt:lpstr>Arial Narrow</vt:lpstr>
      <vt:lpstr>Calibri</vt:lpstr>
      <vt:lpstr>Calibri Light</vt:lpstr>
      <vt:lpstr>Cambria Math</vt:lpstr>
      <vt:lpstr>MS Sans Serif</vt:lpstr>
      <vt:lpstr>Wingdings</vt:lpstr>
      <vt:lpstr>Wingdings 3</vt:lpstr>
      <vt:lpstr>Office Theme</vt:lpstr>
      <vt:lpstr>think-cell Slide</vt:lpstr>
      <vt:lpstr>Insurance 2020</vt:lpstr>
      <vt:lpstr>The Financial Picture</vt:lpstr>
      <vt:lpstr>P/C Insurance Industry  Combined Ratio*</vt:lpstr>
      <vt:lpstr>P/C Industry Net Income After Taxes 2002-Present</vt:lpstr>
      <vt:lpstr>Industry Outlook </vt:lpstr>
      <vt:lpstr>The Personal Lines Picture</vt:lpstr>
      <vt:lpstr>Direct Written Premium Growth By Year</vt:lpstr>
      <vt:lpstr>Personal Lines Results</vt:lpstr>
      <vt:lpstr>      HO Trend: Catastrophe Losses</vt:lpstr>
      <vt:lpstr>PowerPoint Presentation</vt:lpstr>
      <vt:lpstr>The Commercial Lines Picture</vt:lpstr>
      <vt:lpstr>Commercial Lines Results</vt:lpstr>
      <vt:lpstr>Commercial Direct Loss Ratios by Line</vt:lpstr>
      <vt:lpstr>Commercial Lines Rate Changes </vt:lpstr>
      <vt:lpstr>Commercial Rate Changes</vt:lpstr>
      <vt:lpstr>Reserving Trends</vt:lpstr>
      <vt:lpstr>2021 Forecast</vt:lpstr>
      <vt:lpstr>Social Inflation</vt:lpstr>
      <vt:lpstr>Social Inflation</vt:lpstr>
      <vt:lpstr>Triple-I Analysis</vt:lpstr>
      <vt:lpstr>Upward Creep in Loss Development</vt:lpstr>
      <vt:lpstr>Social Inflation: The Toll</vt:lpstr>
      <vt:lpstr>It’s Not Just Auto</vt:lpstr>
      <vt:lpstr>Why It Is Happening</vt:lpstr>
      <vt:lpstr>Why Is It Happening?</vt:lpstr>
      <vt:lpstr>Why Is It Happening?</vt:lpstr>
      <vt:lpstr>COVID-19 and Insurance</vt:lpstr>
      <vt:lpstr>The insurance value chain</vt:lpstr>
      <vt:lpstr>Brains: Industry is preserving its human capital</vt:lpstr>
      <vt:lpstr> The bank account – Damage, then recovery</vt:lpstr>
      <vt:lpstr>Monthly costs of retroactive changes to SME BI policies</vt:lpstr>
      <vt:lpstr>Policy wording: Insurers minimized risk</vt:lpstr>
      <vt:lpstr>Pricing: Adjusting on the fly</vt:lpstr>
      <vt:lpstr>Marketing opportunities</vt:lpstr>
      <vt:lpstr>Market challenge: A surge in business interruption media coverage</vt:lpstr>
      <vt:lpstr>Market challenge: An industry campaign </vt:lpstr>
      <vt:lpstr>Communications: Global pandemics are uninsurable </vt:lpstr>
      <vt:lpstr>Communications: Global pandemics are uninsurable </vt:lpstr>
      <vt:lpstr>Settling claims: COVID-19’s claims impact</vt:lpstr>
      <vt:lpstr>A better place: Six months into COVID-19, news coverage discusses federal policy solution</vt:lpstr>
      <vt:lpstr>A better place: FAIR guiding principles: A defined perspective on potential policy solutions</vt:lpstr>
      <vt:lpstr> Stepping Up </vt:lpstr>
      <vt:lpstr>Thank you for your time and your attention!</vt:lpstr>
    </vt:vector>
  </TitlesOfParts>
  <Company>e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14228 - III PPT Template 4:3</dc:title>
  <dc:subject>v2007 and v2010</dc:subject>
  <dc:creator>Call @ 866-2-eSlide</dc:creator>
  <dc:description>eSlide, LLC - P14228 - Advisen Casualty</dc:description>
  <cp:lastModifiedBy>Lewis, Charlene</cp:lastModifiedBy>
  <cp:revision>1348</cp:revision>
  <cp:lastPrinted>2020-04-21T14:03:09Z</cp:lastPrinted>
  <dcterms:created xsi:type="dcterms:W3CDTF">2011-11-02T14:24:24Z</dcterms:created>
  <dcterms:modified xsi:type="dcterms:W3CDTF">2020-12-02T18:1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814607F-4702-4B19-9EAC-70656D1C4A16</vt:lpwstr>
  </property>
  <property fmtid="{D5CDD505-2E9C-101B-9397-08002B2CF9AE}" pid="3" name="ArticulatePath">
    <vt:lpwstr>WIP_P14228_Advisen Casualty_050416_245pm</vt:lpwstr>
  </property>
</Properties>
</file>